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4"/>
  </p:notesMasterIdLst>
  <p:sldIdLst>
    <p:sldId id="2147375799" r:id="rId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022" autoAdjust="0"/>
    <p:restoredTop sz="94660"/>
  </p:normalViewPr>
  <p:slideViewPr>
    <p:cSldViewPr snapToGrid="0">
      <p:cViewPr varScale="1">
        <p:scale>
          <a:sx n="159" d="100"/>
          <a:sy n="159" d="100"/>
        </p:scale>
        <p:origin x="144" y="1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F2BE170-DA87-4758-BDCF-46BD2303BF44}" type="datetimeFigureOut">
              <a:rPr lang="en-US" smtClean="0"/>
              <a:t>7/23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FCF53F4-6942-4022-BC45-32F01F0ECE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4833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981FB9-A354-4EDB-8342-61B592256A7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339088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.xml"/><Relationship Id="rId4" Type="http://schemas.openxmlformats.org/officeDocument/2006/relationships/image" Target="../media/image9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oleObject" Target="../embeddings/oleObject2.bin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2D61C6-3154-4627-A8CE-118AEB1B69F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3148E14-1E4C-4C3B-9779-2F3D0ECE18D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521C669-5FE4-4347-9294-6EC9A8B4FB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3732C9-5F14-4951-A9C4-C0D69F294AC1}" type="datetimeFigureOut">
              <a:rPr lang="en-US" smtClean="0"/>
              <a:t>7/2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F14A53D-204D-4D4E-AF55-960F7A55FD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EDE8848-9A28-461C-97AD-6FE1CF274B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B677A1-A2BC-49BA-8E98-86F5509D8B4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344327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DF137E-FDB6-493C-AA3C-0DC8FFED75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F9FFAD7-EC4E-4C80-BF58-4C898A433F3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8FAC2AF-618E-432C-B4FA-0522FAE2FA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3732C9-5F14-4951-A9C4-C0D69F294AC1}" type="datetimeFigureOut">
              <a:rPr lang="en-US" smtClean="0"/>
              <a:t>7/2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358748E-22C3-4F98-9B57-7F8093B2CE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F51A63B-6D48-40B7-883C-378B0D8E12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B677A1-A2BC-49BA-8E98-86F5509D8B4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335660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6B3F1D1-3E62-44CB-877F-8E9528E0916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9F12472-DCFB-4AF8-9550-F540906512E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8BB36DF-AFDA-43F3-A86F-0719A31BB6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3732C9-5F14-4951-A9C4-C0D69F294AC1}" type="datetimeFigureOut">
              <a:rPr lang="en-US" smtClean="0"/>
              <a:t>7/2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51D398C-40D6-4215-A436-5506848379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ADF55F7-8E90-47FF-B12A-BE2FA9A790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B677A1-A2BC-49BA-8E98-86F5509D8B4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065696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972229-3F69-425C-9A8D-BB8B9F49341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9DA9723-76B7-44CC-A033-9F4C1FBE6C6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8FB2977-901D-4B7F-9170-1C93D2DB3E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219CF0C-6B02-4C87-8871-8EF861411B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2809A-0020-4A69-8DB1-8F0AE3B01C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864FEA-1DA4-48A5-8C27-3E4FD55277C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848314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36667F-C006-4262-9C60-E2BF275587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CD38830-2217-4B0D-B2B7-E0F47F03420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4C2247F-48A6-44E7-A1D7-613A72BCAD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0B0A253-0010-463F-9BD6-1A202F1925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14673CE-AA0C-4A3C-981F-54032646FA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864FEA-1DA4-48A5-8C27-3E4FD55277C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189793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3A22E0-01DE-43C3-94B2-311D07706E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E636508-D994-4F29-B6A4-04FE3F1E6AC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07E874-4259-4F82-BB57-54720098CD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E17914F-0475-4FA1-AB62-D8B32534FF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F59E71-43A8-4737-9616-49471DA6EC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864FEA-1DA4-48A5-8C27-3E4FD55277C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275159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0570E5-01FF-49D2-A54D-912900E9E7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7A5C419-CA8E-4EB6-B697-E7F2D303B62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D531690-E619-4EA9-A025-3B2495D67BF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2DBC335-A20D-4649-82BC-1B2C1FE646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3B8C1CD-5FAE-4046-A3CF-F04C63DD1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51505CD-20CA-44D3-9128-6748D4ACA8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864FEA-1DA4-48A5-8C27-3E4FD55277C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833285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10A49F-937B-4CD9-8359-DD9F864AC4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8297455-4D70-49C8-8C74-29966FE753C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589B339-B610-4B2D-8C1A-A19E69901FA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1B4B178-1B53-4287-B8B8-FC835E56596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05E8CF5-8F2D-4727-B163-82DCD1EE58D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905981D-FE38-4800-9985-11FCBA303F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3033946-5E3A-4300-8A17-CBECB0EF0F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D34F968-20B4-4869-92AC-2D3CD3CB72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864FEA-1DA4-48A5-8C27-3E4FD55277C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248129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C862D1-B468-459D-B31E-441FE3B040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E3FD5FE-A082-4F83-8E5A-51A8347960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C1D71FB-2651-4120-8626-4D7FB4C297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AE39F19-4805-4B10-B638-0577FE638E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864FEA-1DA4-48A5-8C27-3E4FD55277C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377072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4900805-1E11-4E37-9430-4EEFD5679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DB7D44E-8A6E-41BB-BBC5-E75E291E1A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6F17BA0-CBA1-4258-BA5C-586DB5BE9B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864FEA-1DA4-48A5-8C27-3E4FD55277C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701692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6FE665-B908-417F-97B0-9CB89A527B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192DD03-F254-4ED5-B2BD-9744B312BDC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457D84-F0D1-426F-AC3A-0CF974A5FA6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D5E410E-411E-4391-A68D-9DCC99964D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245BC1F-F8E2-4F9F-8AF5-1CDFB00C06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7004C2B-A9D0-409B-997D-73824EFC19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864FEA-1DA4-48A5-8C27-3E4FD55277C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39020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BAFD52-F9AE-41CC-92D0-CD5C1E38F8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9A1C25D-20B9-439B-9DA8-CAE0EF5874E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61F2CB1-EB58-4164-864D-5A5C667C20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3732C9-5F14-4951-A9C4-C0D69F294AC1}" type="datetimeFigureOut">
              <a:rPr lang="en-US" smtClean="0"/>
              <a:t>7/2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4754DAE-5301-4F9B-B254-C5A2C43B22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64590F5-57B1-4464-AF8F-A35F2ADFE4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B677A1-A2BC-49BA-8E98-86F5509D8B4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623484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34FD38-C472-455A-A98B-4DC1C686C6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2656C9A-A437-447F-8D6B-C372BCF782E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4D156D4-84B2-4338-84B8-69F4E36B125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647E563-89B1-457A-AFBD-A7AB6A2122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AAD6684-0A92-4CEF-A019-E1F8DCCB72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2D22F51-4EA0-4866-A865-89B984E01C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864FEA-1DA4-48A5-8C27-3E4FD55277C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8356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DFB6C0-8258-47F3-831B-B40336B06C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C4BF5D2-0B4B-4979-A852-E41325C2FC6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7FE0369-60F0-4C3F-958C-71660BB370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8575F65-DC81-4998-A38B-0AC2940D63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ADAF434-54AA-4AB8-BD3C-2B5901ECD4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864FEA-1DA4-48A5-8C27-3E4FD55277C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656268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5F03DFA-141C-4CAC-ACDA-D03D93AAF71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EE89C7F-0F8A-4B96-A405-F3C2C47E861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472DBCA-FAC9-4F11-9750-318AFD0064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9052A70-73C3-4220-9C86-26C9EE9F16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927F12C-9BB4-4FEC-A720-A3EA098AC9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864FEA-1DA4-48A5-8C27-3E4FD55277C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622634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ImagePlacehol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208481" y="3783303"/>
            <a:ext cx="4564063" cy="8636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399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3075709" y="2348636"/>
            <a:ext cx="7537425" cy="1325563"/>
          </a:xfrm>
        </p:spPr>
        <p:txBody>
          <a:bodyPr/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2878282" y="2296391"/>
            <a:ext cx="0" cy="2712027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668024" y="5964383"/>
            <a:ext cx="2610357" cy="4226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9811613"/>
      </p:ext>
    </p:extLst>
  </p:cSld>
  <p:clrMapOvr>
    <a:masterClrMapping/>
  </p:clrMapOvr>
  <p:transition spd="slow"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ImagePlacehol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76092">
              <a:alpha val="4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/>
          <p:cNvSpPr>
            <a:spLocks/>
          </p:cNvSpPr>
          <p:nvPr userDrawn="1"/>
        </p:nvSpPr>
        <p:spPr bwMode="auto">
          <a:xfrm>
            <a:off x="5645162" y="364957"/>
            <a:ext cx="904864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5pPr>
            <a:lvl6pPr marL="25146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6pPr>
            <a:lvl7pPr marL="29718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7pPr>
            <a:lvl8pPr marL="34290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8pPr>
            <a:lvl9pPr marL="38862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9pPr>
          </a:lstStyle>
          <a:p>
            <a:pPr algn="ctr"/>
            <a:r>
              <a:rPr lang="en-US" altLang="x-none" sz="1400" b="1">
                <a:solidFill>
                  <a:srgbClr val="FF671B"/>
                </a:solidFill>
                <a:latin typeface="+mn-lt"/>
                <a:sym typeface="Montserrat-Regular" charset="0"/>
              </a:rPr>
              <a:t>PAHO/WHO</a:t>
            </a:r>
          </a:p>
        </p:txBody>
      </p:sp>
      <p:grpSp>
        <p:nvGrpSpPr>
          <p:cNvPr id="5" name="Group 4"/>
          <p:cNvGrpSpPr/>
          <p:nvPr userDrawn="1"/>
        </p:nvGrpSpPr>
        <p:grpSpPr>
          <a:xfrm>
            <a:off x="5897563" y="1470034"/>
            <a:ext cx="400050" cy="95250"/>
            <a:chOff x="1942594" y="2781300"/>
            <a:chExt cx="799891" cy="190500"/>
          </a:xfrm>
          <a:solidFill>
            <a:srgbClr val="FF671B"/>
          </a:solidFill>
        </p:grpSpPr>
        <p:sp>
          <p:nvSpPr>
            <p:cNvPr id="6" name="Oval 3"/>
            <p:cNvSpPr>
              <a:spLocks/>
            </p:cNvSpPr>
            <p:nvPr/>
          </p:nvSpPr>
          <p:spPr bwMode="auto">
            <a:xfrm>
              <a:off x="1942594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  <p:sp>
          <p:nvSpPr>
            <p:cNvPr id="7" name="Oval 4"/>
            <p:cNvSpPr>
              <a:spLocks/>
            </p:cNvSpPr>
            <p:nvPr/>
          </p:nvSpPr>
          <p:spPr bwMode="auto">
            <a:xfrm>
              <a:off x="2247315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  <p:sp>
          <p:nvSpPr>
            <p:cNvPr id="8" name="Oval 5"/>
            <p:cNvSpPr>
              <a:spLocks/>
            </p:cNvSpPr>
            <p:nvPr/>
          </p:nvSpPr>
          <p:spPr bwMode="auto">
            <a:xfrm>
              <a:off x="2552035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</p:grp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55217" y="6425850"/>
            <a:ext cx="1621441" cy="262553"/>
          </a:xfrm>
          <a:prstGeom prst="rect">
            <a:avLst/>
          </a:prstGeom>
        </p:spPr>
      </p:pic>
      <p:sp>
        <p:nvSpPr>
          <p:cNvPr id="11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851694" y="655532"/>
            <a:ext cx="10587038" cy="763139"/>
          </a:xfrm>
        </p:spPr>
        <p:txBody>
          <a:bodyPr/>
          <a:lstStyle>
            <a:lvl1pPr marL="0" indent="0" algn="ctr">
              <a:buNone/>
              <a:defRPr sz="44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bg1"/>
                </a:solidFill>
              </a:defRPr>
            </a:lvl2pPr>
            <a:lvl3pPr marL="914399" indent="0" algn="ctr"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03933325"/>
      </p:ext>
    </p:extLst>
  </p:cSld>
  <p:clrMapOvr>
    <a:masterClrMapping/>
  </p:clrMapOvr>
  <p:transition spd="slow"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ener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 bwMode="auto">
          <a:xfrm>
            <a:off x="838419" y="611654"/>
            <a:ext cx="10515163" cy="8583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182843" tIns="91422" rIns="182843" bIns="91422" numCol="1" anchor="ctr" anchorCtr="0" compatLnSpc="1">
            <a:prstTxWarp prst="textNoShape">
              <a:avLst/>
            </a:prstTxWarp>
          </a:bodyPr>
          <a:lstStyle>
            <a:lvl1pPr algn="ctr">
              <a:defRPr sz="3800" b="1">
                <a:solidFill>
                  <a:srgbClr val="00AAF0"/>
                </a:solidFill>
              </a:defRPr>
            </a:lvl1pPr>
          </a:lstStyle>
          <a:p>
            <a:pPr lvl="0"/>
            <a:r>
              <a:rPr lang="en-US" altLang="x-none"/>
              <a:t>CLICK TO EDIT MASTER TITLE STYLE</a:t>
            </a:r>
          </a:p>
        </p:txBody>
      </p:sp>
      <p:sp>
        <p:nvSpPr>
          <p:cNvPr id="6" name="Rectangle 5"/>
          <p:cNvSpPr>
            <a:spLocks/>
          </p:cNvSpPr>
          <p:nvPr userDrawn="1"/>
        </p:nvSpPr>
        <p:spPr bwMode="auto">
          <a:xfrm>
            <a:off x="5645162" y="364957"/>
            <a:ext cx="904864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5pPr>
            <a:lvl6pPr marL="25146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6pPr>
            <a:lvl7pPr marL="29718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7pPr>
            <a:lvl8pPr marL="34290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8pPr>
            <a:lvl9pPr marL="38862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9pPr>
          </a:lstStyle>
          <a:p>
            <a:pPr algn="ctr"/>
            <a:r>
              <a:rPr lang="en-US" altLang="x-none" sz="1400" b="1">
                <a:solidFill>
                  <a:schemeClr val="bg1">
                    <a:lumMod val="65000"/>
                  </a:schemeClr>
                </a:solidFill>
                <a:latin typeface="+mn-lt"/>
                <a:sym typeface="Montserrat-Regular" charset="0"/>
              </a:rPr>
              <a:t>PAHO/WHO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838419" y="2064774"/>
            <a:ext cx="10515163" cy="406839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838419" y="6356350"/>
            <a:ext cx="2743121" cy="365125"/>
          </a:xfrm>
          <a:prstGeom prst="rect">
            <a:avLst/>
          </a:prstGeom>
        </p:spPr>
        <p:txBody>
          <a:bodyPr vert="horz" lIns="182843" tIns="91422" rIns="182843" bIns="91422" rtlCol="0" anchor="ctr"/>
          <a:lstStyle>
            <a:lvl1pPr algn="l" defTabSz="914217" fontAlgn="auto">
              <a:spcBef>
                <a:spcPts val="0"/>
              </a:spcBef>
              <a:spcAft>
                <a:spcPts val="0"/>
              </a:spcAft>
              <a:defRPr sz="1200" dirty="0">
                <a:solidFill>
                  <a:schemeClr val="tx1">
                    <a:tint val="75000"/>
                  </a:schemeClr>
                </a:solidFill>
                <a:latin typeface="+mj-lt"/>
                <a:ea typeface="+mn-ea"/>
                <a:cs typeface="Roboto Regular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859" y="6356350"/>
            <a:ext cx="4114284" cy="365125"/>
          </a:xfrm>
          <a:prstGeom prst="rect">
            <a:avLst/>
          </a:prstGeom>
        </p:spPr>
        <p:txBody>
          <a:bodyPr vert="horz" lIns="182843" tIns="91422" rIns="182843" bIns="91422" rtlCol="0" anchor="ctr"/>
          <a:lstStyle>
            <a:lvl1pPr algn="ctr" defTabSz="914217" fontAlgn="auto">
              <a:spcBef>
                <a:spcPts val="0"/>
              </a:spcBef>
              <a:spcAft>
                <a:spcPts val="0"/>
              </a:spcAft>
              <a:defRPr sz="1200" dirty="0">
                <a:solidFill>
                  <a:schemeClr val="tx1">
                    <a:tint val="75000"/>
                  </a:schemeClr>
                </a:solidFill>
                <a:latin typeface="+mj-lt"/>
                <a:ea typeface="+mn-ea"/>
                <a:cs typeface="Roboto Regular"/>
              </a:defRPr>
            </a:lvl1pPr>
          </a:lstStyle>
          <a:p>
            <a:pPr>
              <a:defRPr/>
            </a:pPr>
            <a:endParaRPr lang="en-US"/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5897563" y="1470034"/>
            <a:ext cx="400050" cy="95250"/>
            <a:chOff x="1942594" y="2781300"/>
            <a:chExt cx="799891" cy="190500"/>
          </a:xfrm>
          <a:solidFill>
            <a:schemeClr val="bg1">
              <a:lumMod val="85000"/>
            </a:schemeClr>
          </a:solidFill>
        </p:grpSpPr>
        <p:sp>
          <p:nvSpPr>
            <p:cNvPr id="19" name="Oval 3"/>
            <p:cNvSpPr>
              <a:spLocks/>
            </p:cNvSpPr>
            <p:nvPr/>
          </p:nvSpPr>
          <p:spPr bwMode="auto">
            <a:xfrm>
              <a:off x="1942594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  <p:sp>
          <p:nvSpPr>
            <p:cNvPr id="20" name="Oval 4"/>
            <p:cNvSpPr>
              <a:spLocks/>
            </p:cNvSpPr>
            <p:nvPr/>
          </p:nvSpPr>
          <p:spPr bwMode="auto">
            <a:xfrm>
              <a:off x="2247315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  <p:sp>
          <p:nvSpPr>
            <p:cNvPr id="21" name="Oval 5"/>
            <p:cNvSpPr>
              <a:spLocks/>
            </p:cNvSpPr>
            <p:nvPr/>
          </p:nvSpPr>
          <p:spPr bwMode="auto">
            <a:xfrm>
              <a:off x="2552035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</p:grpSp>
      <p:pic>
        <p:nvPicPr>
          <p:cNvPr id="4" name="Picture 3">
            <a:extLst>
              <a:ext uri="{FF2B5EF4-FFF2-40B4-BE49-F238E27FC236}">
                <a16:creationId xmlns:a16="http://schemas.microsoft.com/office/drawing/2014/main" id="{3404B361-99CB-4471-B9F9-E094409ADF7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49542" y="6266637"/>
            <a:ext cx="2076429" cy="432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3498347"/>
      </p:ext>
    </p:extLst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ImagePlacehol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>
            <a:spLocks/>
          </p:cNvSpPr>
          <p:nvPr userDrawn="1"/>
        </p:nvSpPr>
        <p:spPr bwMode="auto">
          <a:xfrm>
            <a:off x="5645162" y="364957"/>
            <a:ext cx="904864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5pPr>
            <a:lvl6pPr marL="25146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6pPr>
            <a:lvl7pPr marL="29718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7pPr>
            <a:lvl8pPr marL="34290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8pPr>
            <a:lvl9pPr marL="38862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9pPr>
          </a:lstStyle>
          <a:p>
            <a:pPr algn="ctr"/>
            <a:r>
              <a:rPr lang="en-US" altLang="x-none" sz="1400" b="1">
                <a:solidFill>
                  <a:srgbClr val="FF671B"/>
                </a:solidFill>
                <a:latin typeface="+mn-lt"/>
                <a:sym typeface="Montserrat-Regular" charset="0"/>
              </a:rPr>
              <a:t>PAHO/WHO</a:t>
            </a:r>
          </a:p>
        </p:txBody>
      </p:sp>
      <p:grpSp>
        <p:nvGrpSpPr>
          <p:cNvPr id="4" name="Group 3"/>
          <p:cNvGrpSpPr/>
          <p:nvPr userDrawn="1"/>
        </p:nvGrpSpPr>
        <p:grpSpPr>
          <a:xfrm>
            <a:off x="5897563" y="1470034"/>
            <a:ext cx="400050" cy="95250"/>
            <a:chOff x="1942594" y="2781300"/>
            <a:chExt cx="799891" cy="190500"/>
          </a:xfrm>
          <a:solidFill>
            <a:srgbClr val="FF671B"/>
          </a:solidFill>
        </p:grpSpPr>
        <p:sp>
          <p:nvSpPr>
            <p:cNvPr id="5" name="Oval 3"/>
            <p:cNvSpPr>
              <a:spLocks/>
            </p:cNvSpPr>
            <p:nvPr/>
          </p:nvSpPr>
          <p:spPr bwMode="auto">
            <a:xfrm>
              <a:off x="1942594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  <p:sp>
          <p:nvSpPr>
            <p:cNvPr id="6" name="Oval 4"/>
            <p:cNvSpPr>
              <a:spLocks/>
            </p:cNvSpPr>
            <p:nvPr/>
          </p:nvSpPr>
          <p:spPr bwMode="auto">
            <a:xfrm>
              <a:off x="2247315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  <p:sp>
          <p:nvSpPr>
            <p:cNvPr id="7" name="Oval 5"/>
            <p:cNvSpPr>
              <a:spLocks/>
            </p:cNvSpPr>
            <p:nvPr/>
          </p:nvSpPr>
          <p:spPr bwMode="auto">
            <a:xfrm>
              <a:off x="2552035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</p:grp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885053" y="6249204"/>
            <a:ext cx="1621441" cy="262553"/>
          </a:xfrm>
          <a:prstGeom prst="rect">
            <a:avLst/>
          </a:prstGeom>
        </p:spPr>
      </p:pic>
      <p:sp>
        <p:nvSpPr>
          <p:cNvPr id="12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851694" y="655532"/>
            <a:ext cx="10587038" cy="763139"/>
          </a:xfrm>
        </p:spPr>
        <p:txBody>
          <a:bodyPr/>
          <a:lstStyle>
            <a:lvl1pPr marL="0" indent="0" algn="ctr">
              <a:buNone/>
              <a:defRPr sz="44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bg1"/>
                </a:solidFill>
              </a:defRPr>
            </a:lvl2pPr>
            <a:lvl3pPr marL="914399" indent="0" algn="ctr"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14376188"/>
      </p:ext>
    </p:extLst>
  </p:cSld>
  <p:clrMapOvr>
    <a:masterClrMapping/>
  </p:clrMapOvr>
  <p:transition spd="slow"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ImagePlacehol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9ADE">
              <a:alpha val="4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/>
          <p:cNvSpPr>
            <a:spLocks/>
          </p:cNvSpPr>
          <p:nvPr userDrawn="1"/>
        </p:nvSpPr>
        <p:spPr bwMode="auto">
          <a:xfrm>
            <a:off x="5645162" y="364957"/>
            <a:ext cx="904864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5pPr>
            <a:lvl6pPr marL="25146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6pPr>
            <a:lvl7pPr marL="29718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7pPr>
            <a:lvl8pPr marL="34290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8pPr>
            <a:lvl9pPr marL="38862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9pPr>
          </a:lstStyle>
          <a:p>
            <a:pPr algn="ctr"/>
            <a:r>
              <a:rPr lang="en-US" altLang="x-none" sz="1400" b="1">
                <a:solidFill>
                  <a:srgbClr val="276092"/>
                </a:solidFill>
                <a:latin typeface="+mn-lt"/>
                <a:sym typeface="Montserrat-Regular" charset="0"/>
              </a:rPr>
              <a:t>PAHO/WHO</a:t>
            </a:r>
          </a:p>
        </p:txBody>
      </p:sp>
      <p:grpSp>
        <p:nvGrpSpPr>
          <p:cNvPr id="5" name="Group 4"/>
          <p:cNvGrpSpPr/>
          <p:nvPr userDrawn="1"/>
        </p:nvGrpSpPr>
        <p:grpSpPr>
          <a:xfrm>
            <a:off x="5897563" y="1470034"/>
            <a:ext cx="400050" cy="95250"/>
            <a:chOff x="1942594" y="2781300"/>
            <a:chExt cx="799891" cy="190500"/>
          </a:xfrm>
          <a:solidFill>
            <a:srgbClr val="276092"/>
          </a:solidFill>
        </p:grpSpPr>
        <p:sp>
          <p:nvSpPr>
            <p:cNvPr id="6" name="Oval 3"/>
            <p:cNvSpPr>
              <a:spLocks/>
            </p:cNvSpPr>
            <p:nvPr/>
          </p:nvSpPr>
          <p:spPr bwMode="auto">
            <a:xfrm>
              <a:off x="1942594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  <p:sp>
          <p:nvSpPr>
            <p:cNvPr id="7" name="Oval 4"/>
            <p:cNvSpPr>
              <a:spLocks/>
            </p:cNvSpPr>
            <p:nvPr/>
          </p:nvSpPr>
          <p:spPr bwMode="auto">
            <a:xfrm>
              <a:off x="2247315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  <p:sp>
          <p:nvSpPr>
            <p:cNvPr id="8" name="Oval 5"/>
            <p:cNvSpPr>
              <a:spLocks/>
            </p:cNvSpPr>
            <p:nvPr/>
          </p:nvSpPr>
          <p:spPr bwMode="auto">
            <a:xfrm>
              <a:off x="2552035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</p:grp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55217" y="6425850"/>
            <a:ext cx="1621441" cy="262553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851694" y="655532"/>
            <a:ext cx="10587038" cy="763139"/>
          </a:xfrm>
        </p:spPr>
        <p:txBody>
          <a:bodyPr/>
          <a:lstStyle>
            <a:lvl1pPr marL="0" indent="0" algn="ctr">
              <a:buNone/>
              <a:defRPr sz="44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bg1"/>
                </a:solidFill>
              </a:defRPr>
            </a:lvl2pPr>
            <a:lvl3pPr marL="914399" indent="0" algn="ctr"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04175735"/>
      </p:ext>
    </p:extLst>
  </p:cSld>
  <p:clrMapOvr>
    <a:masterClrMapping/>
  </p:clrMapOvr>
  <p:transition spd="slow"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ImagePlacehol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>
            <a:spLocks/>
          </p:cNvSpPr>
          <p:nvPr userDrawn="1"/>
        </p:nvSpPr>
        <p:spPr bwMode="auto">
          <a:xfrm>
            <a:off x="5645162" y="364957"/>
            <a:ext cx="904864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5pPr>
            <a:lvl6pPr marL="25146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6pPr>
            <a:lvl7pPr marL="29718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7pPr>
            <a:lvl8pPr marL="34290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8pPr>
            <a:lvl9pPr marL="38862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9pPr>
          </a:lstStyle>
          <a:p>
            <a:pPr algn="ctr"/>
            <a:r>
              <a:rPr lang="en-US" altLang="x-none" sz="1400" b="1">
                <a:solidFill>
                  <a:srgbClr val="276092"/>
                </a:solidFill>
                <a:latin typeface="+mn-lt"/>
                <a:sym typeface="Montserrat-Regular" charset="0"/>
              </a:rPr>
              <a:t>PAHO/WHO</a:t>
            </a:r>
          </a:p>
        </p:txBody>
      </p:sp>
      <p:grpSp>
        <p:nvGrpSpPr>
          <p:cNvPr id="4" name="Group 3"/>
          <p:cNvGrpSpPr/>
          <p:nvPr userDrawn="1"/>
        </p:nvGrpSpPr>
        <p:grpSpPr>
          <a:xfrm>
            <a:off x="5897563" y="1470034"/>
            <a:ext cx="400050" cy="95250"/>
            <a:chOff x="1942594" y="2781300"/>
            <a:chExt cx="799891" cy="190500"/>
          </a:xfrm>
          <a:solidFill>
            <a:srgbClr val="276092"/>
          </a:solidFill>
        </p:grpSpPr>
        <p:sp>
          <p:nvSpPr>
            <p:cNvPr id="5" name="Oval 3"/>
            <p:cNvSpPr>
              <a:spLocks/>
            </p:cNvSpPr>
            <p:nvPr/>
          </p:nvSpPr>
          <p:spPr bwMode="auto">
            <a:xfrm>
              <a:off x="1942594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  <p:sp>
          <p:nvSpPr>
            <p:cNvPr id="6" name="Oval 4"/>
            <p:cNvSpPr>
              <a:spLocks/>
            </p:cNvSpPr>
            <p:nvPr/>
          </p:nvSpPr>
          <p:spPr bwMode="auto">
            <a:xfrm>
              <a:off x="2247315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  <p:sp>
          <p:nvSpPr>
            <p:cNvPr id="7" name="Oval 5"/>
            <p:cNvSpPr>
              <a:spLocks/>
            </p:cNvSpPr>
            <p:nvPr/>
          </p:nvSpPr>
          <p:spPr bwMode="auto">
            <a:xfrm>
              <a:off x="2552035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</p:grp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55217" y="6425850"/>
            <a:ext cx="1621441" cy="262553"/>
          </a:xfrm>
          <a:prstGeom prst="rect">
            <a:avLst/>
          </a:prstGeom>
        </p:spPr>
      </p:pic>
      <p:sp>
        <p:nvSpPr>
          <p:cNvPr id="9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851694" y="655532"/>
            <a:ext cx="10587038" cy="763139"/>
          </a:xfrm>
        </p:spPr>
        <p:txBody>
          <a:bodyPr/>
          <a:lstStyle>
            <a:lvl1pPr marL="0" indent="0" algn="ctr">
              <a:buNone/>
              <a:defRPr sz="44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bg1"/>
                </a:solidFill>
              </a:defRPr>
            </a:lvl2pPr>
            <a:lvl3pPr marL="914399" indent="0" algn="ctr"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27586175"/>
      </p:ext>
    </p:extLst>
  </p:cSld>
  <p:clrMapOvr>
    <a:masterClrMapping/>
  </p:clrMapOvr>
  <p:transition spd="slow"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Gener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838419" y="6356350"/>
            <a:ext cx="2743121" cy="365125"/>
          </a:xfrm>
          <a:prstGeom prst="rect">
            <a:avLst/>
          </a:prstGeom>
        </p:spPr>
        <p:txBody>
          <a:bodyPr vert="horz" lIns="182843" tIns="91422" rIns="182843" bIns="91422" rtlCol="0" anchor="ctr"/>
          <a:lstStyle>
            <a:lvl1pPr algn="l" defTabSz="914217" fontAlgn="auto">
              <a:spcBef>
                <a:spcPts val="0"/>
              </a:spcBef>
              <a:spcAft>
                <a:spcPts val="0"/>
              </a:spcAft>
              <a:defRPr sz="1200" dirty="0">
                <a:solidFill>
                  <a:schemeClr val="tx1">
                    <a:tint val="75000"/>
                  </a:schemeClr>
                </a:solidFill>
                <a:latin typeface="+mj-lt"/>
                <a:ea typeface="+mn-ea"/>
                <a:cs typeface="Roboto Regular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859" y="6356350"/>
            <a:ext cx="4114284" cy="365125"/>
          </a:xfrm>
          <a:prstGeom prst="rect">
            <a:avLst/>
          </a:prstGeom>
        </p:spPr>
        <p:txBody>
          <a:bodyPr vert="horz" lIns="182843" tIns="91422" rIns="182843" bIns="91422" rtlCol="0" anchor="ctr"/>
          <a:lstStyle>
            <a:lvl1pPr algn="ctr" defTabSz="914217" fontAlgn="auto">
              <a:spcBef>
                <a:spcPts val="0"/>
              </a:spcBef>
              <a:spcAft>
                <a:spcPts val="0"/>
              </a:spcAft>
              <a:defRPr sz="1200" dirty="0">
                <a:solidFill>
                  <a:schemeClr val="tx1">
                    <a:tint val="75000"/>
                  </a:schemeClr>
                </a:solidFill>
                <a:latin typeface="+mj-lt"/>
                <a:ea typeface="+mn-ea"/>
                <a:cs typeface="Roboto Regular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3" name="Title Placeholder 1"/>
          <p:cNvSpPr>
            <a:spLocks noGrp="1"/>
          </p:cNvSpPr>
          <p:nvPr>
            <p:ph type="title" hasCustomPrompt="1"/>
          </p:nvPr>
        </p:nvSpPr>
        <p:spPr bwMode="auto">
          <a:xfrm>
            <a:off x="838419" y="611654"/>
            <a:ext cx="10515163" cy="8583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182843" tIns="91422" rIns="182843" bIns="91422" numCol="1" anchor="ctr" anchorCtr="0" compatLnSpc="1">
            <a:prstTxWarp prst="textNoShape">
              <a:avLst/>
            </a:prstTxWarp>
          </a:bodyPr>
          <a:lstStyle>
            <a:lvl1pPr algn="ctr">
              <a:defRPr sz="3800" b="1">
                <a:solidFill>
                  <a:srgbClr val="00AAF0"/>
                </a:solidFill>
              </a:defRPr>
            </a:lvl1pPr>
          </a:lstStyle>
          <a:p>
            <a:pPr lvl="0"/>
            <a:r>
              <a:rPr lang="en-US" altLang="x-none"/>
              <a:t>CLICK TO EDIT MASTER TITLE STYLE</a:t>
            </a:r>
          </a:p>
        </p:txBody>
      </p:sp>
      <p:sp>
        <p:nvSpPr>
          <p:cNvPr id="24" name="Rectangle 23"/>
          <p:cNvSpPr>
            <a:spLocks/>
          </p:cNvSpPr>
          <p:nvPr userDrawn="1"/>
        </p:nvSpPr>
        <p:spPr bwMode="auto">
          <a:xfrm>
            <a:off x="5645162" y="364957"/>
            <a:ext cx="904864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5pPr>
            <a:lvl6pPr marL="25146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6pPr>
            <a:lvl7pPr marL="29718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7pPr>
            <a:lvl8pPr marL="34290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8pPr>
            <a:lvl9pPr marL="38862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9pPr>
          </a:lstStyle>
          <a:p>
            <a:pPr algn="ctr"/>
            <a:r>
              <a:rPr lang="en-US" altLang="x-none" sz="1400" b="1">
                <a:solidFill>
                  <a:schemeClr val="bg1">
                    <a:lumMod val="65000"/>
                  </a:schemeClr>
                </a:solidFill>
                <a:latin typeface="+mn-lt"/>
                <a:sym typeface="Montserrat-Regular" charset="0"/>
              </a:rPr>
              <a:t>PAHO/WHO</a:t>
            </a:r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5897563" y="1470034"/>
            <a:ext cx="400050" cy="95250"/>
            <a:chOff x="1942594" y="2781300"/>
            <a:chExt cx="799891" cy="190500"/>
          </a:xfrm>
          <a:solidFill>
            <a:schemeClr val="bg1">
              <a:lumMod val="85000"/>
            </a:schemeClr>
          </a:solidFill>
        </p:grpSpPr>
        <p:sp>
          <p:nvSpPr>
            <p:cNvPr id="26" name="Oval 3"/>
            <p:cNvSpPr>
              <a:spLocks/>
            </p:cNvSpPr>
            <p:nvPr/>
          </p:nvSpPr>
          <p:spPr bwMode="auto">
            <a:xfrm>
              <a:off x="1942594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  <p:sp>
          <p:nvSpPr>
            <p:cNvPr id="27" name="Oval 4"/>
            <p:cNvSpPr>
              <a:spLocks/>
            </p:cNvSpPr>
            <p:nvPr/>
          </p:nvSpPr>
          <p:spPr bwMode="auto">
            <a:xfrm>
              <a:off x="2247315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  <p:sp>
          <p:nvSpPr>
            <p:cNvPr id="28" name="Oval 5"/>
            <p:cNvSpPr>
              <a:spLocks/>
            </p:cNvSpPr>
            <p:nvPr/>
          </p:nvSpPr>
          <p:spPr bwMode="auto">
            <a:xfrm>
              <a:off x="2552035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72414452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ADF0EF-7472-4A32-A4FD-E2D62A0FF3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FC35B90-7A9D-459B-B313-C41947128D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EDBFAD3-33B8-43D1-949F-1568D1EC03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3732C9-5F14-4951-A9C4-C0D69F294AC1}" type="datetimeFigureOut">
              <a:rPr lang="en-US" smtClean="0"/>
              <a:t>7/2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856A0A3-390D-4058-8668-07494087F2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E3257BD-C181-47FF-992C-FBB4837990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B677A1-A2BC-49BA-8E98-86F5509D8B4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580541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ener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856027" y="1873405"/>
            <a:ext cx="5151219" cy="42486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half" idx="2"/>
          </p:nvPr>
        </p:nvSpPr>
        <p:spPr>
          <a:xfrm>
            <a:off x="6202363" y="1873405"/>
            <a:ext cx="5151219" cy="42486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itle Placeholder 1"/>
          <p:cNvSpPr>
            <a:spLocks noGrp="1"/>
          </p:cNvSpPr>
          <p:nvPr>
            <p:ph type="title" hasCustomPrompt="1"/>
          </p:nvPr>
        </p:nvSpPr>
        <p:spPr bwMode="auto">
          <a:xfrm>
            <a:off x="838419" y="611654"/>
            <a:ext cx="10515163" cy="8583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182843" tIns="91422" rIns="182843" bIns="91422" numCol="1" anchor="ctr" anchorCtr="0" compatLnSpc="1">
            <a:prstTxWarp prst="textNoShape">
              <a:avLst/>
            </a:prstTxWarp>
          </a:bodyPr>
          <a:lstStyle>
            <a:lvl1pPr algn="ctr">
              <a:defRPr sz="3800" b="1">
                <a:solidFill>
                  <a:srgbClr val="00AAF0"/>
                </a:solidFill>
              </a:defRPr>
            </a:lvl1pPr>
          </a:lstStyle>
          <a:p>
            <a:pPr lvl="0"/>
            <a:r>
              <a:rPr lang="en-US" altLang="x-none"/>
              <a:t>CLICK TO EDIT MASTER TITLE STYLE</a:t>
            </a:r>
          </a:p>
        </p:txBody>
      </p:sp>
      <p:sp>
        <p:nvSpPr>
          <p:cNvPr id="24" name="Rectangle 23"/>
          <p:cNvSpPr>
            <a:spLocks/>
          </p:cNvSpPr>
          <p:nvPr userDrawn="1"/>
        </p:nvSpPr>
        <p:spPr bwMode="auto">
          <a:xfrm>
            <a:off x="5645162" y="364957"/>
            <a:ext cx="904864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5pPr>
            <a:lvl6pPr marL="25146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6pPr>
            <a:lvl7pPr marL="29718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7pPr>
            <a:lvl8pPr marL="34290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8pPr>
            <a:lvl9pPr marL="38862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9pPr>
          </a:lstStyle>
          <a:p>
            <a:pPr algn="ctr"/>
            <a:r>
              <a:rPr lang="en-US" altLang="x-none" sz="1400" b="1">
                <a:solidFill>
                  <a:schemeClr val="bg1">
                    <a:lumMod val="65000"/>
                  </a:schemeClr>
                </a:solidFill>
                <a:latin typeface="+mn-lt"/>
                <a:sym typeface="Montserrat-Regular" charset="0"/>
              </a:rPr>
              <a:t>PAHO/WHO</a:t>
            </a:r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5897563" y="1470034"/>
            <a:ext cx="400050" cy="95250"/>
            <a:chOff x="1942594" y="2781300"/>
            <a:chExt cx="799891" cy="190500"/>
          </a:xfrm>
          <a:solidFill>
            <a:schemeClr val="bg1">
              <a:lumMod val="85000"/>
            </a:schemeClr>
          </a:solidFill>
        </p:grpSpPr>
        <p:sp>
          <p:nvSpPr>
            <p:cNvPr id="26" name="Oval 3"/>
            <p:cNvSpPr>
              <a:spLocks/>
            </p:cNvSpPr>
            <p:nvPr/>
          </p:nvSpPr>
          <p:spPr bwMode="auto">
            <a:xfrm>
              <a:off x="1942594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  <p:sp>
          <p:nvSpPr>
            <p:cNvPr id="27" name="Oval 4"/>
            <p:cNvSpPr>
              <a:spLocks/>
            </p:cNvSpPr>
            <p:nvPr/>
          </p:nvSpPr>
          <p:spPr bwMode="auto">
            <a:xfrm>
              <a:off x="2247315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  <p:sp>
          <p:nvSpPr>
            <p:cNvPr id="28" name="Oval 5"/>
            <p:cNvSpPr>
              <a:spLocks/>
            </p:cNvSpPr>
            <p:nvPr/>
          </p:nvSpPr>
          <p:spPr bwMode="auto">
            <a:xfrm>
              <a:off x="2552035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</p:grp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155218" y="6407635"/>
            <a:ext cx="1621441" cy="262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4181981"/>
      </p:ext>
    </p:extLst>
  </p:cSld>
  <p:clrMapOvr>
    <a:masterClrMapping/>
  </p:clrMapOvr>
  <p:transition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Gener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856027" y="2497873"/>
            <a:ext cx="5151219" cy="362414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half" idx="2"/>
          </p:nvPr>
        </p:nvSpPr>
        <p:spPr>
          <a:xfrm>
            <a:off x="6202363" y="2497874"/>
            <a:ext cx="5151219" cy="362414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85703" y="1873406"/>
            <a:ext cx="5167879" cy="524107"/>
          </a:xfrm>
        </p:spPr>
        <p:txBody>
          <a:bodyPr anchor="b"/>
          <a:lstStyle>
            <a:lvl1pPr marL="0" indent="0">
              <a:buNone/>
              <a:defRPr sz="2700" b="1"/>
            </a:lvl1pPr>
            <a:lvl2pPr marL="228600" indent="0">
              <a:buNone/>
              <a:defRPr sz="1000" b="1"/>
            </a:lvl2pPr>
            <a:lvl3pPr marL="457200" indent="0">
              <a:buNone/>
              <a:defRPr sz="900" b="1"/>
            </a:lvl3pPr>
            <a:lvl4pPr marL="685800" indent="0">
              <a:buNone/>
              <a:defRPr sz="800" b="1"/>
            </a:lvl4pPr>
            <a:lvl5pPr marL="914400" indent="0">
              <a:buNone/>
              <a:defRPr sz="800" b="1"/>
            </a:lvl5pPr>
            <a:lvl6pPr marL="1143000" indent="0">
              <a:buNone/>
              <a:defRPr sz="800" b="1"/>
            </a:lvl6pPr>
            <a:lvl7pPr marL="1371600" indent="0">
              <a:buNone/>
              <a:defRPr sz="800" b="1"/>
            </a:lvl7pPr>
            <a:lvl8pPr marL="1600200" indent="0">
              <a:buNone/>
              <a:defRPr sz="800" b="1"/>
            </a:lvl8pPr>
            <a:lvl9pPr marL="1828800" indent="0">
              <a:buNone/>
              <a:defRPr sz="8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856027" y="1873406"/>
            <a:ext cx="5136786" cy="524107"/>
          </a:xfrm>
        </p:spPr>
        <p:txBody>
          <a:bodyPr anchor="b"/>
          <a:lstStyle>
            <a:lvl1pPr marL="0" indent="0">
              <a:buNone/>
              <a:defRPr sz="2700" b="1"/>
            </a:lvl1pPr>
            <a:lvl2pPr marL="228600" indent="0">
              <a:buNone/>
              <a:defRPr sz="1000" b="1"/>
            </a:lvl2pPr>
            <a:lvl3pPr marL="457200" indent="0">
              <a:buNone/>
              <a:defRPr sz="900" b="1"/>
            </a:lvl3pPr>
            <a:lvl4pPr marL="685800" indent="0">
              <a:buNone/>
              <a:defRPr sz="800" b="1"/>
            </a:lvl4pPr>
            <a:lvl5pPr marL="914400" indent="0">
              <a:buNone/>
              <a:defRPr sz="800" b="1"/>
            </a:lvl5pPr>
            <a:lvl6pPr marL="1143000" indent="0">
              <a:buNone/>
              <a:defRPr sz="800" b="1"/>
            </a:lvl6pPr>
            <a:lvl7pPr marL="1371600" indent="0">
              <a:buNone/>
              <a:defRPr sz="800" b="1"/>
            </a:lvl7pPr>
            <a:lvl8pPr marL="1600200" indent="0">
              <a:buNone/>
              <a:defRPr sz="800" b="1"/>
            </a:lvl8pPr>
            <a:lvl9pPr marL="1828800" indent="0">
              <a:buNone/>
              <a:defRPr sz="8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tle Placeholder 1"/>
          <p:cNvSpPr>
            <a:spLocks noGrp="1"/>
          </p:cNvSpPr>
          <p:nvPr>
            <p:ph type="title" hasCustomPrompt="1"/>
          </p:nvPr>
        </p:nvSpPr>
        <p:spPr bwMode="auto">
          <a:xfrm>
            <a:off x="838419" y="611654"/>
            <a:ext cx="10515163" cy="8583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182843" tIns="91422" rIns="182843" bIns="91422" numCol="1" anchor="ctr" anchorCtr="0" compatLnSpc="1">
            <a:prstTxWarp prst="textNoShape">
              <a:avLst/>
            </a:prstTxWarp>
          </a:bodyPr>
          <a:lstStyle>
            <a:lvl1pPr algn="ctr">
              <a:defRPr sz="3800" b="1">
                <a:solidFill>
                  <a:srgbClr val="00AAF0"/>
                </a:solidFill>
              </a:defRPr>
            </a:lvl1pPr>
          </a:lstStyle>
          <a:p>
            <a:pPr lvl="0"/>
            <a:r>
              <a:rPr lang="en-US" altLang="x-none"/>
              <a:t>CLICK TO EDIT MASTER TITLE STYLE</a:t>
            </a:r>
          </a:p>
        </p:txBody>
      </p:sp>
      <p:sp>
        <p:nvSpPr>
          <p:cNvPr id="23" name="Rectangle 22"/>
          <p:cNvSpPr>
            <a:spLocks/>
          </p:cNvSpPr>
          <p:nvPr userDrawn="1"/>
        </p:nvSpPr>
        <p:spPr bwMode="auto">
          <a:xfrm>
            <a:off x="5645162" y="364957"/>
            <a:ext cx="904864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5pPr>
            <a:lvl6pPr marL="25146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6pPr>
            <a:lvl7pPr marL="29718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7pPr>
            <a:lvl8pPr marL="34290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8pPr>
            <a:lvl9pPr marL="38862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9pPr>
          </a:lstStyle>
          <a:p>
            <a:pPr algn="ctr"/>
            <a:r>
              <a:rPr lang="en-US" altLang="x-none" sz="1400" b="1">
                <a:solidFill>
                  <a:schemeClr val="bg1">
                    <a:lumMod val="65000"/>
                  </a:schemeClr>
                </a:solidFill>
                <a:latin typeface="+mn-lt"/>
                <a:sym typeface="Montserrat-Regular" charset="0"/>
              </a:rPr>
              <a:t>PAHO/WHO</a:t>
            </a:r>
          </a:p>
        </p:txBody>
      </p:sp>
      <p:grpSp>
        <p:nvGrpSpPr>
          <p:cNvPr id="24" name="Group 23"/>
          <p:cNvGrpSpPr/>
          <p:nvPr userDrawn="1"/>
        </p:nvGrpSpPr>
        <p:grpSpPr>
          <a:xfrm>
            <a:off x="5897563" y="1470034"/>
            <a:ext cx="400050" cy="95250"/>
            <a:chOff x="1942594" y="2781300"/>
            <a:chExt cx="799891" cy="190500"/>
          </a:xfrm>
          <a:solidFill>
            <a:schemeClr val="bg1">
              <a:lumMod val="85000"/>
            </a:schemeClr>
          </a:solidFill>
        </p:grpSpPr>
        <p:sp>
          <p:nvSpPr>
            <p:cNvPr id="25" name="Oval 3"/>
            <p:cNvSpPr>
              <a:spLocks/>
            </p:cNvSpPr>
            <p:nvPr/>
          </p:nvSpPr>
          <p:spPr bwMode="auto">
            <a:xfrm>
              <a:off x="1942594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  <p:sp>
          <p:nvSpPr>
            <p:cNvPr id="26" name="Oval 4"/>
            <p:cNvSpPr>
              <a:spLocks/>
            </p:cNvSpPr>
            <p:nvPr/>
          </p:nvSpPr>
          <p:spPr bwMode="auto">
            <a:xfrm>
              <a:off x="2247315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  <p:sp>
          <p:nvSpPr>
            <p:cNvPr id="27" name="Oval 5"/>
            <p:cNvSpPr>
              <a:spLocks/>
            </p:cNvSpPr>
            <p:nvPr/>
          </p:nvSpPr>
          <p:spPr bwMode="auto">
            <a:xfrm>
              <a:off x="2552035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</p:grp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155218" y="6407635"/>
            <a:ext cx="1621441" cy="262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1964773"/>
      </p:ext>
    </p:extLst>
  </p:cSld>
  <p:clrMapOvr>
    <a:masterClrMapping/>
  </p:clrMapOvr>
  <p:transition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pct90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rtlCol="0">
            <a:normAutofit/>
          </a:bodyPr>
          <a:lstStyle>
            <a:lvl1pPr marL="0" indent="0" algn="r">
              <a:buFontTx/>
              <a:buNone/>
              <a:defRPr sz="1600"/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554617978"/>
      </p:ext>
    </p:extLst>
  </p:cSld>
  <p:clrMapOvr>
    <a:masterClrMapping/>
  </p:clrMapOvr>
  <p:transition spd="slow"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mage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8"/>
          <p:cNvSpPr>
            <a:spLocks noGrp="1"/>
          </p:cNvSpPr>
          <p:nvPr>
            <p:ph type="pic" sz="quarter" idx="13"/>
          </p:nvPr>
        </p:nvSpPr>
        <p:spPr bwMode="auto">
          <a:xfrm>
            <a:off x="68111" y="0"/>
            <a:ext cx="12123889" cy="6858000"/>
          </a:xfrm>
          <a:custGeom>
            <a:avLst/>
            <a:gdLst>
              <a:gd name="connsiteX0" fmla="*/ 0 w 2044700"/>
              <a:gd name="connsiteY0" fmla="*/ 0 h 5143500"/>
              <a:gd name="connsiteX1" fmla="*/ 2044700 w 2044700"/>
              <a:gd name="connsiteY1" fmla="*/ 0 h 5143500"/>
              <a:gd name="connsiteX2" fmla="*/ 2044700 w 2044700"/>
              <a:gd name="connsiteY2" fmla="*/ 5143500 h 5143500"/>
              <a:gd name="connsiteX3" fmla="*/ 0 w 2044700"/>
              <a:gd name="connsiteY3" fmla="*/ 5143500 h 5143500"/>
              <a:gd name="connsiteX4" fmla="*/ 0 w 2044700"/>
              <a:gd name="connsiteY4" fmla="*/ 0 h 5143500"/>
              <a:gd name="connsiteX0" fmla="*/ 0 w 2044700"/>
              <a:gd name="connsiteY0" fmla="*/ 0 h 5143500"/>
              <a:gd name="connsiteX1" fmla="*/ 2044700 w 2044700"/>
              <a:gd name="connsiteY1" fmla="*/ 0 h 5143500"/>
              <a:gd name="connsiteX2" fmla="*/ 2032000 w 2044700"/>
              <a:gd name="connsiteY2" fmla="*/ 1143000 h 5143500"/>
              <a:gd name="connsiteX3" fmla="*/ 2044700 w 2044700"/>
              <a:gd name="connsiteY3" fmla="*/ 5143500 h 5143500"/>
              <a:gd name="connsiteX4" fmla="*/ 0 w 2044700"/>
              <a:gd name="connsiteY4" fmla="*/ 5143500 h 5143500"/>
              <a:gd name="connsiteX5" fmla="*/ 0 w 2044700"/>
              <a:gd name="connsiteY5" fmla="*/ 0 h 5143500"/>
              <a:gd name="connsiteX0" fmla="*/ 0 w 3479809"/>
              <a:gd name="connsiteY0" fmla="*/ 12700 h 5156200"/>
              <a:gd name="connsiteX1" fmla="*/ 2044700 w 3479809"/>
              <a:gd name="connsiteY1" fmla="*/ 12700 h 5156200"/>
              <a:gd name="connsiteX2" fmla="*/ 3479800 w 3479809"/>
              <a:gd name="connsiteY2" fmla="*/ 0 h 5156200"/>
              <a:gd name="connsiteX3" fmla="*/ 2044700 w 3479809"/>
              <a:gd name="connsiteY3" fmla="*/ 5156200 h 5156200"/>
              <a:gd name="connsiteX4" fmla="*/ 0 w 3479809"/>
              <a:gd name="connsiteY4" fmla="*/ 5156200 h 5156200"/>
              <a:gd name="connsiteX5" fmla="*/ 0 w 3479809"/>
              <a:gd name="connsiteY5" fmla="*/ 12700 h 5156200"/>
              <a:gd name="connsiteX0" fmla="*/ 0 w 3484485"/>
              <a:gd name="connsiteY0" fmla="*/ 12700 h 5156200"/>
              <a:gd name="connsiteX1" fmla="*/ 2044700 w 3484485"/>
              <a:gd name="connsiteY1" fmla="*/ 12700 h 5156200"/>
              <a:gd name="connsiteX2" fmla="*/ 3479800 w 3484485"/>
              <a:gd name="connsiteY2" fmla="*/ 0 h 5156200"/>
              <a:gd name="connsiteX3" fmla="*/ 2489200 w 3484485"/>
              <a:gd name="connsiteY3" fmla="*/ 3251200 h 5156200"/>
              <a:gd name="connsiteX4" fmla="*/ 2044700 w 3484485"/>
              <a:gd name="connsiteY4" fmla="*/ 5156200 h 5156200"/>
              <a:gd name="connsiteX5" fmla="*/ 0 w 3484485"/>
              <a:gd name="connsiteY5" fmla="*/ 5156200 h 5156200"/>
              <a:gd name="connsiteX6" fmla="*/ 0 w 3484485"/>
              <a:gd name="connsiteY6" fmla="*/ 12700 h 5156200"/>
              <a:gd name="connsiteX0" fmla="*/ 0 w 3519784"/>
              <a:gd name="connsiteY0" fmla="*/ 12700 h 5156200"/>
              <a:gd name="connsiteX1" fmla="*/ 2044700 w 3519784"/>
              <a:gd name="connsiteY1" fmla="*/ 12700 h 5156200"/>
              <a:gd name="connsiteX2" fmla="*/ 3479800 w 3519784"/>
              <a:gd name="connsiteY2" fmla="*/ 0 h 5156200"/>
              <a:gd name="connsiteX3" fmla="*/ 3302000 w 3519784"/>
              <a:gd name="connsiteY3" fmla="*/ 3860800 h 5156200"/>
              <a:gd name="connsiteX4" fmla="*/ 2044700 w 3519784"/>
              <a:gd name="connsiteY4" fmla="*/ 5156200 h 5156200"/>
              <a:gd name="connsiteX5" fmla="*/ 0 w 3519784"/>
              <a:gd name="connsiteY5" fmla="*/ 5156200 h 5156200"/>
              <a:gd name="connsiteX6" fmla="*/ 0 w 3519784"/>
              <a:gd name="connsiteY6" fmla="*/ 12700 h 5156200"/>
              <a:gd name="connsiteX0" fmla="*/ 0 w 3493347"/>
              <a:gd name="connsiteY0" fmla="*/ 12700 h 5156200"/>
              <a:gd name="connsiteX1" fmla="*/ 2044700 w 3493347"/>
              <a:gd name="connsiteY1" fmla="*/ 12700 h 5156200"/>
              <a:gd name="connsiteX2" fmla="*/ 3479800 w 3493347"/>
              <a:gd name="connsiteY2" fmla="*/ 0 h 5156200"/>
              <a:gd name="connsiteX3" fmla="*/ 3302000 w 3493347"/>
              <a:gd name="connsiteY3" fmla="*/ 3860800 h 5156200"/>
              <a:gd name="connsiteX4" fmla="*/ 2044700 w 3493347"/>
              <a:gd name="connsiteY4" fmla="*/ 5156200 h 5156200"/>
              <a:gd name="connsiteX5" fmla="*/ 0 w 3493347"/>
              <a:gd name="connsiteY5" fmla="*/ 5156200 h 5156200"/>
              <a:gd name="connsiteX6" fmla="*/ 0 w 3493347"/>
              <a:gd name="connsiteY6" fmla="*/ 12700 h 5156200"/>
              <a:gd name="connsiteX0" fmla="*/ 0 w 3479800"/>
              <a:gd name="connsiteY0" fmla="*/ 12770 h 5156270"/>
              <a:gd name="connsiteX1" fmla="*/ 2044700 w 3479800"/>
              <a:gd name="connsiteY1" fmla="*/ 12770 h 5156270"/>
              <a:gd name="connsiteX2" fmla="*/ 3479800 w 3479800"/>
              <a:gd name="connsiteY2" fmla="*/ 70 h 5156270"/>
              <a:gd name="connsiteX3" fmla="*/ 3302000 w 3479800"/>
              <a:gd name="connsiteY3" fmla="*/ 3860870 h 5156270"/>
              <a:gd name="connsiteX4" fmla="*/ 2044700 w 3479800"/>
              <a:gd name="connsiteY4" fmla="*/ 5156270 h 5156270"/>
              <a:gd name="connsiteX5" fmla="*/ 0 w 3479800"/>
              <a:gd name="connsiteY5" fmla="*/ 5156270 h 5156270"/>
              <a:gd name="connsiteX6" fmla="*/ 0 w 3479800"/>
              <a:gd name="connsiteY6" fmla="*/ 12770 h 5156270"/>
              <a:gd name="connsiteX0" fmla="*/ 0 w 3479800"/>
              <a:gd name="connsiteY0" fmla="*/ 12770 h 5156270"/>
              <a:gd name="connsiteX1" fmla="*/ 2044700 w 3479800"/>
              <a:gd name="connsiteY1" fmla="*/ 12770 h 5156270"/>
              <a:gd name="connsiteX2" fmla="*/ 3479800 w 3479800"/>
              <a:gd name="connsiteY2" fmla="*/ 70 h 5156270"/>
              <a:gd name="connsiteX3" fmla="*/ 3302000 w 3479800"/>
              <a:gd name="connsiteY3" fmla="*/ 3860870 h 5156270"/>
              <a:gd name="connsiteX4" fmla="*/ 2044700 w 3479800"/>
              <a:gd name="connsiteY4" fmla="*/ 5156270 h 5156270"/>
              <a:gd name="connsiteX5" fmla="*/ 0 w 3479800"/>
              <a:gd name="connsiteY5" fmla="*/ 5156270 h 5156270"/>
              <a:gd name="connsiteX6" fmla="*/ 0 w 3479800"/>
              <a:gd name="connsiteY6" fmla="*/ 12770 h 5156270"/>
              <a:gd name="connsiteX0" fmla="*/ 1556 w 3481356"/>
              <a:gd name="connsiteY0" fmla="*/ 12770 h 5156270"/>
              <a:gd name="connsiteX1" fmla="*/ 2046256 w 3481356"/>
              <a:gd name="connsiteY1" fmla="*/ 12770 h 5156270"/>
              <a:gd name="connsiteX2" fmla="*/ 3481356 w 3481356"/>
              <a:gd name="connsiteY2" fmla="*/ 70 h 5156270"/>
              <a:gd name="connsiteX3" fmla="*/ 3303556 w 3481356"/>
              <a:gd name="connsiteY3" fmla="*/ 3860870 h 5156270"/>
              <a:gd name="connsiteX4" fmla="*/ 2046256 w 3481356"/>
              <a:gd name="connsiteY4" fmla="*/ 5156270 h 5156270"/>
              <a:gd name="connsiteX5" fmla="*/ 1556 w 3481356"/>
              <a:gd name="connsiteY5" fmla="*/ 5156270 h 5156270"/>
              <a:gd name="connsiteX6" fmla="*/ 1556 w 3481356"/>
              <a:gd name="connsiteY6" fmla="*/ 12770 h 5156270"/>
              <a:gd name="connsiteX0" fmla="*/ 25400 w 3479800"/>
              <a:gd name="connsiteY0" fmla="*/ 38170 h 5156270"/>
              <a:gd name="connsiteX1" fmla="*/ 2044700 w 3479800"/>
              <a:gd name="connsiteY1" fmla="*/ 12770 h 5156270"/>
              <a:gd name="connsiteX2" fmla="*/ 3479800 w 3479800"/>
              <a:gd name="connsiteY2" fmla="*/ 70 h 5156270"/>
              <a:gd name="connsiteX3" fmla="*/ 3302000 w 3479800"/>
              <a:gd name="connsiteY3" fmla="*/ 3860870 h 5156270"/>
              <a:gd name="connsiteX4" fmla="*/ 2044700 w 3479800"/>
              <a:gd name="connsiteY4" fmla="*/ 5156270 h 5156270"/>
              <a:gd name="connsiteX5" fmla="*/ 0 w 3479800"/>
              <a:gd name="connsiteY5" fmla="*/ 5156270 h 5156270"/>
              <a:gd name="connsiteX6" fmla="*/ 25400 w 3479800"/>
              <a:gd name="connsiteY6" fmla="*/ 38170 h 5156270"/>
              <a:gd name="connsiteX0" fmla="*/ 25400 w 3302000"/>
              <a:gd name="connsiteY0" fmla="*/ 25400 h 5143500"/>
              <a:gd name="connsiteX1" fmla="*/ 2044700 w 3302000"/>
              <a:gd name="connsiteY1" fmla="*/ 0 h 5143500"/>
              <a:gd name="connsiteX2" fmla="*/ 2590800 w 3302000"/>
              <a:gd name="connsiteY2" fmla="*/ 1460500 h 5143500"/>
              <a:gd name="connsiteX3" fmla="*/ 3302000 w 3302000"/>
              <a:gd name="connsiteY3" fmla="*/ 3848100 h 5143500"/>
              <a:gd name="connsiteX4" fmla="*/ 2044700 w 3302000"/>
              <a:gd name="connsiteY4" fmla="*/ 5143500 h 5143500"/>
              <a:gd name="connsiteX5" fmla="*/ 0 w 3302000"/>
              <a:gd name="connsiteY5" fmla="*/ 5143500 h 5143500"/>
              <a:gd name="connsiteX6" fmla="*/ 25400 w 3302000"/>
              <a:gd name="connsiteY6" fmla="*/ 25400 h 5143500"/>
              <a:gd name="connsiteX0" fmla="*/ 25400 w 3302000"/>
              <a:gd name="connsiteY0" fmla="*/ 137 h 5118237"/>
              <a:gd name="connsiteX1" fmla="*/ 1828800 w 3302000"/>
              <a:gd name="connsiteY1" fmla="*/ 863737 h 5118237"/>
              <a:gd name="connsiteX2" fmla="*/ 2590800 w 3302000"/>
              <a:gd name="connsiteY2" fmla="*/ 1435237 h 5118237"/>
              <a:gd name="connsiteX3" fmla="*/ 3302000 w 3302000"/>
              <a:gd name="connsiteY3" fmla="*/ 3822837 h 5118237"/>
              <a:gd name="connsiteX4" fmla="*/ 2044700 w 3302000"/>
              <a:gd name="connsiteY4" fmla="*/ 5118237 h 5118237"/>
              <a:gd name="connsiteX5" fmla="*/ 0 w 3302000"/>
              <a:gd name="connsiteY5" fmla="*/ 5118237 h 5118237"/>
              <a:gd name="connsiteX6" fmla="*/ 25400 w 3302000"/>
              <a:gd name="connsiteY6" fmla="*/ 137 h 5118237"/>
              <a:gd name="connsiteX0" fmla="*/ 25400 w 3467100"/>
              <a:gd name="connsiteY0" fmla="*/ 12700 h 5130800"/>
              <a:gd name="connsiteX1" fmla="*/ 3467100 w 3467100"/>
              <a:gd name="connsiteY1" fmla="*/ 0 h 5130800"/>
              <a:gd name="connsiteX2" fmla="*/ 2590800 w 3467100"/>
              <a:gd name="connsiteY2" fmla="*/ 1447800 h 5130800"/>
              <a:gd name="connsiteX3" fmla="*/ 3302000 w 3467100"/>
              <a:gd name="connsiteY3" fmla="*/ 3835400 h 5130800"/>
              <a:gd name="connsiteX4" fmla="*/ 2044700 w 3467100"/>
              <a:gd name="connsiteY4" fmla="*/ 5130800 h 5130800"/>
              <a:gd name="connsiteX5" fmla="*/ 0 w 3467100"/>
              <a:gd name="connsiteY5" fmla="*/ 5130800 h 5130800"/>
              <a:gd name="connsiteX6" fmla="*/ 25400 w 3467100"/>
              <a:gd name="connsiteY6" fmla="*/ 12700 h 5130800"/>
              <a:gd name="connsiteX0" fmla="*/ 25400 w 3467100"/>
              <a:gd name="connsiteY0" fmla="*/ 12700 h 5130800"/>
              <a:gd name="connsiteX1" fmla="*/ 3467100 w 3467100"/>
              <a:gd name="connsiteY1" fmla="*/ 0 h 5130800"/>
              <a:gd name="connsiteX2" fmla="*/ 3302000 w 3467100"/>
              <a:gd name="connsiteY2" fmla="*/ 3835400 h 5130800"/>
              <a:gd name="connsiteX3" fmla="*/ 2044700 w 3467100"/>
              <a:gd name="connsiteY3" fmla="*/ 5130800 h 5130800"/>
              <a:gd name="connsiteX4" fmla="*/ 0 w 3467100"/>
              <a:gd name="connsiteY4" fmla="*/ 5130800 h 5130800"/>
              <a:gd name="connsiteX5" fmla="*/ 25400 w 3467100"/>
              <a:gd name="connsiteY5" fmla="*/ 12700 h 5130800"/>
              <a:gd name="connsiteX0" fmla="*/ 25400 w 3467100"/>
              <a:gd name="connsiteY0" fmla="*/ 5645 h 5123745"/>
              <a:gd name="connsiteX1" fmla="*/ 3467100 w 3467100"/>
              <a:gd name="connsiteY1" fmla="*/ 5645 h 5123745"/>
              <a:gd name="connsiteX2" fmla="*/ 3302000 w 3467100"/>
              <a:gd name="connsiteY2" fmla="*/ 3828345 h 5123745"/>
              <a:gd name="connsiteX3" fmla="*/ 2044700 w 3467100"/>
              <a:gd name="connsiteY3" fmla="*/ 5123745 h 5123745"/>
              <a:gd name="connsiteX4" fmla="*/ 0 w 3467100"/>
              <a:gd name="connsiteY4" fmla="*/ 5123745 h 5123745"/>
              <a:gd name="connsiteX5" fmla="*/ 25400 w 3467100"/>
              <a:gd name="connsiteY5" fmla="*/ 5645 h 5123745"/>
              <a:gd name="connsiteX0" fmla="*/ 25400 w 3467100"/>
              <a:gd name="connsiteY0" fmla="*/ 5645 h 5123745"/>
              <a:gd name="connsiteX1" fmla="*/ 3467100 w 3467100"/>
              <a:gd name="connsiteY1" fmla="*/ 5645 h 5123745"/>
              <a:gd name="connsiteX2" fmla="*/ 3302000 w 3467100"/>
              <a:gd name="connsiteY2" fmla="*/ 3828345 h 5123745"/>
              <a:gd name="connsiteX3" fmla="*/ 2044700 w 3467100"/>
              <a:gd name="connsiteY3" fmla="*/ 5123745 h 5123745"/>
              <a:gd name="connsiteX4" fmla="*/ 0 w 3467100"/>
              <a:gd name="connsiteY4" fmla="*/ 5123745 h 5123745"/>
              <a:gd name="connsiteX5" fmla="*/ 25400 w 3467100"/>
              <a:gd name="connsiteY5" fmla="*/ 5645 h 5123745"/>
              <a:gd name="connsiteX0" fmla="*/ 25400 w 3467100"/>
              <a:gd name="connsiteY0" fmla="*/ 5645 h 5123745"/>
              <a:gd name="connsiteX1" fmla="*/ 3467100 w 3467100"/>
              <a:gd name="connsiteY1" fmla="*/ 5645 h 5123745"/>
              <a:gd name="connsiteX2" fmla="*/ 3302000 w 3467100"/>
              <a:gd name="connsiteY2" fmla="*/ 3828345 h 5123745"/>
              <a:gd name="connsiteX3" fmla="*/ 2044700 w 3467100"/>
              <a:gd name="connsiteY3" fmla="*/ 5123745 h 5123745"/>
              <a:gd name="connsiteX4" fmla="*/ 0 w 3467100"/>
              <a:gd name="connsiteY4" fmla="*/ 5123745 h 5123745"/>
              <a:gd name="connsiteX5" fmla="*/ 25400 w 3467100"/>
              <a:gd name="connsiteY5" fmla="*/ 5645 h 5123745"/>
              <a:gd name="connsiteX0" fmla="*/ 25400 w 3467100"/>
              <a:gd name="connsiteY0" fmla="*/ 5645 h 5123745"/>
              <a:gd name="connsiteX1" fmla="*/ 3467100 w 3467100"/>
              <a:gd name="connsiteY1" fmla="*/ 5645 h 5123745"/>
              <a:gd name="connsiteX2" fmla="*/ 3302000 w 3467100"/>
              <a:gd name="connsiteY2" fmla="*/ 3828345 h 5123745"/>
              <a:gd name="connsiteX3" fmla="*/ 2044700 w 3467100"/>
              <a:gd name="connsiteY3" fmla="*/ 5123745 h 5123745"/>
              <a:gd name="connsiteX4" fmla="*/ 0 w 3467100"/>
              <a:gd name="connsiteY4" fmla="*/ 5123745 h 5123745"/>
              <a:gd name="connsiteX5" fmla="*/ 12700 w 3467100"/>
              <a:gd name="connsiteY5" fmla="*/ 1135945 h 5123745"/>
              <a:gd name="connsiteX6" fmla="*/ 25400 w 3467100"/>
              <a:gd name="connsiteY6" fmla="*/ 5645 h 5123745"/>
              <a:gd name="connsiteX0" fmla="*/ 1485909 w 4927609"/>
              <a:gd name="connsiteY0" fmla="*/ 5645 h 5123745"/>
              <a:gd name="connsiteX1" fmla="*/ 4927609 w 4927609"/>
              <a:gd name="connsiteY1" fmla="*/ 5645 h 5123745"/>
              <a:gd name="connsiteX2" fmla="*/ 4762509 w 4927609"/>
              <a:gd name="connsiteY2" fmla="*/ 3828345 h 5123745"/>
              <a:gd name="connsiteX3" fmla="*/ 3505209 w 4927609"/>
              <a:gd name="connsiteY3" fmla="*/ 5123745 h 5123745"/>
              <a:gd name="connsiteX4" fmla="*/ 1460509 w 4927609"/>
              <a:gd name="connsiteY4" fmla="*/ 5123745 h 5123745"/>
              <a:gd name="connsiteX5" fmla="*/ 9 w 4927609"/>
              <a:gd name="connsiteY5" fmla="*/ 602545 h 5123745"/>
              <a:gd name="connsiteX6" fmla="*/ 1485909 w 4927609"/>
              <a:gd name="connsiteY6" fmla="*/ 5645 h 5123745"/>
              <a:gd name="connsiteX0" fmla="*/ 1512775 w 4954475"/>
              <a:gd name="connsiteY0" fmla="*/ 5645 h 5123745"/>
              <a:gd name="connsiteX1" fmla="*/ 4954475 w 4954475"/>
              <a:gd name="connsiteY1" fmla="*/ 5645 h 5123745"/>
              <a:gd name="connsiteX2" fmla="*/ 4789375 w 4954475"/>
              <a:gd name="connsiteY2" fmla="*/ 3828345 h 5123745"/>
              <a:gd name="connsiteX3" fmla="*/ 3532075 w 4954475"/>
              <a:gd name="connsiteY3" fmla="*/ 5123745 h 5123745"/>
              <a:gd name="connsiteX4" fmla="*/ 1487375 w 4954475"/>
              <a:gd name="connsiteY4" fmla="*/ 5123745 h 5123745"/>
              <a:gd name="connsiteX5" fmla="*/ 623776 w 4954475"/>
              <a:gd name="connsiteY5" fmla="*/ 2532945 h 5123745"/>
              <a:gd name="connsiteX6" fmla="*/ 26875 w 4954475"/>
              <a:gd name="connsiteY6" fmla="*/ 602545 h 5123745"/>
              <a:gd name="connsiteX7" fmla="*/ 1512775 w 4954475"/>
              <a:gd name="connsiteY7" fmla="*/ 5645 h 5123745"/>
              <a:gd name="connsiteX0" fmla="*/ 2062882 w 5504582"/>
              <a:gd name="connsiteY0" fmla="*/ 5645 h 5123745"/>
              <a:gd name="connsiteX1" fmla="*/ 5504582 w 5504582"/>
              <a:gd name="connsiteY1" fmla="*/ 5645 h 5123745"/>
              <a:gd name="connsiteX2" fmla="*/ 5339482 w 5504582"/>
              <a:gd name="connsiteY2" fmla="*/ 3828345 h 5123745"/>
              <a:gd name="connsiteX3" fmla="*/ 4082182 w 5504582"/>
              <a:gd name="connsiteY3" fmla="*/ 5123745 h 5123745"/>
              <a:gd name="connsiteX4" fmla="*/ 2037482 w 5504582"/>
              <a:gd name="connsiteY4" fmla="*/ 5123745 h 5123745"/>
              <a:gd name="connsiteX5" fmla="*/ 56283 w 5504582"/>
              <a:gd name="connsiteY5" fmla="*/ 1796345 h 5123745"/>
              <a:gd name="connsiteX6" fmla="*/ 576982 w 5504582"/>
              <a:gd name="connsiteY6" fmla="*/ 602545 h 5123745"/>
              <a:gd name="connsiteX7" fmla="*/ 2062882 w 5504582"/>
              <a:gd name="connsiteY7" fmla="*/ 5645 h 5123745"/>
              <a:gd name="connsiteX0" fmla="*/ 2072521 w 5514221"/>
              <a:gd name="connsiteY0" fmla="*/ 5645 h 5123745"/>
              <a:gd name="connsiteX1" fmla="*/ 5514221 w 5514221"/>
              <a:gd name="connsiteY1" fmla="*/ 5645 h 5123745"/>
              <a:gd name="connsiteX2" fmla="*/ 5349121 w 5514221"/>
              <a:gd name="connsiteY2" fmla="*/ 3828345 h 5123745"/>
              <a:gd name="connsiteX3" fmla="*/ 4091821 w 5514221"/>
              <a:gd name="connsiteY3" fmla="*/ 5123745 h 5123745"/>
              <a:gd name="connsiteX4" fmla="*/ 2047121 w 5514221"/>
              <a:gd name="connsiteY4" fmla="*/ 5123745 h 5123745"/>
              <a:gd name="connsiteX5" fmla="*/ 65922 w 5514221"/>
              <a:gd name="connsiteY5" fmla="*/ 1796345 h 5123745"/>
              <a:gd name="connsiteX6" fmla="*/ 586621 w 5514221"/>
              <a:gd name="connsiteY6" fmla="*/ 602545 h 5123745"/>
              <a:gd name="connsiteX7" fmla="*/ 2072521 w 5514221"/>
              <a:gd name="connsiteY7" fmla="*/ 5645 h 5123745"/>
              <a:gd name="connsiteX0" fmla="*/ 2072521 w 5514221"/>
              <a:gd name="connsiteY0" fmla="*/ 5645 h 5123745"/>
              <a:gd name="connsiteX1" fmla="*/ 5514221 w 5514221"/>
              <a:gd name="connsiteY1" fmla="*/ 5645 h 5123745"/>
              <a:gd name="connsiteX2" fmla="*/ 5349121 w 5514221"/>
              <a:gd name="connsiteY2" fmla="*/ 3828345 h 5123745"/>
              <a:gd name="connsiteX3" fmla="*/ 4091821 w 5514221"/>
              <a:gd name="connsiteY3" fmla="*/ 5123745 h 5123745"/>
              <a:gd name="connsiteX4" fmla="*/ 2047121 w 5514221"/>
              <a:gd name="connsiteY4" fmla="*/ 5123745 h 5123745"/>
              <a:gd name="connsiteX5" fmla="*/ 65922 w 5514221"/>
              <a:gd name="connsiteY5" fmla="*/ 1796345 h 5123745"/>
              <a:gd name="connsiteX6" fmla="*/ 586621 w 5514221"/>
              <a:gd name="connsiteY6" fmla="*/ 602545 h 5123745"/>
              <a:gd name="connsiteX7" fmla="*/ 2072521 w 5514221"/>
              <a:gd name="connsiteY7" fmla="*/ 5645 h 5123745"/>
              <a:gd name="connsiteX0" fmla="*/ 2072521 w 5514221"/>
              <a:gd name="connsiteY0" fmla="*/ 5645 h 5149145"/>
              <a:gd name="connsiteX1" fmla="*/ 5514221 w 5514221"/>
              <a:gd name="connsiteY1" fmla="*/ 5645 h 5149145"/>
              <a:gd name="connsiteX2" fmla="*/ 5349121 w 5514221"/>
              <a:gd name="connsiteY2" fmla="*/ 3828345 h 5149145"/>
              <a:gd name="connsiteX3" fmla="*/ 4091821 w 5514221"/>
              <a:gd name="connsiteY3" fmla="*/ 5123745 h 5149145"/>
              <a:gd name="connsiteX4" fmla="*/ 1869321 w 5514221"/>
              <a:gd name="connsiteY4" fmla="*/ 5149145 h 5149145"/>
              <a:gd name="connsiteX5" fmla="*/ 65922 w 5514221"/>
              <a:gd name="connsiteY5" fmla="*/ 1796345 h 5149145"/>
              <a:gd name="connsiteX6" fmla="*/ 586621 w 5514221"/>
              <a:gd name="connsiteY6" fmla="*/ 602545 h 5149145"/>
              <a:gd name="connsiteX7" fmla="*/ 2072521 w 5514221"/>
              <a:gd name="connsiteY7" fmla="*/ 5645 h 5149145"/>
              <a:gd name="connsiteX0" fmla="*/ 2072521 w 5514221"/>
              <a:gd name="connsiteY0" fmla="*/ 5645 h 5149145"/>
              <a:gd name="connsiteX1" fmla="*/ 5514221 w 5514221"/>
              <a:gd name="connsiteY1" fmla="*/ 5645 h 5149145"/>
              <a:gd name="connsiteX2" fmla="*/ 5349121 w 5514221"/>
              <a:gd name="connsiteY2" fmla="*/ 3828345 h 5149145"/>
              <a:gd name="connsiteX3" fmla="*/ 4091821 w 5514221"/>
              <a:gd name="connsiteY3" fmla="*/ 5123745 h 5149145"/>
              <a:gd name="connsiteX4" fmla="*/ 1869321 w 5514221"/>
              <a:gd name="connsiteY4" fmla="*/ 5149145 h 5149145"/>
              <a:gd name="connsiteX5" fmla="*/ 65922 w 5514221"/>
              <a:gd name="connsiteY5" fmla="*/ 1796345 h 5149145"/>
              <a:gd name="connsiteX6" fmla="*/ 586621 w 5514221"/>
              <a:gd name="connsiteY6" fmla="*/ 602545 h 5149145"/>
              <a:gd name="connsiteX7" fmla="*/ 2072521 w 5514221"/>
              <a:gd name="connsiteY7" fmla="*/ 5645 h 51491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514221" h="5149145">
                <a:moveTo>
                  <a:pt x="2072521" y="5645"/>
                </a:moveTo>
                <a:cubicBezTo>
                  <a:pt x="2017488" y="-7055"/>
                  <a:pt x="4832654" y="5645"/>
                  <a:pt x="5514221" y="5645"/>
                </a:cubicBezTo>
                <a:lnTo>
                  <a:pt x="5349121" y="3828345"/>
                </a:lnTo>
                <a:cubicBezTo>
                  <a:pt x="5300438" y="5030612"/>
                  <a:pt x="4468588" y="5098345"/>
                  <a:pt x="4091821" y="5123745"/>
                </a:cubicBezTo>
                <a:lnTo>
                  <a:pt x="1869321" y="5149145"/>
                </a:lnTo>
                <a:cubicBezTo>
                  <a:pt x="1854505" y="5111045"/>
                  <a:pt x="131539" y="1902178"/>
                  <a:pt x="65922" y="1796345"/>
                </a:cubicBezTo>
                <a:cubicBezTo>
                  <a:pt x="-177495" y="1042812"/>
                  <a:pt x="311454" y="769762"/>
                  <a:pt x="586621" y="602545"/>
                </a:cubicBezTo>
                <a:lnTo>
                  <a:pt x="2072521" y="5645"/>
                </a:lnTo>
                <a:close/>
              </a:path>
            </a:pathLst>
          </a:custGeom>
          <a:pattFill prst="pct90">
            <a:fgClr>
              <a:schemeClr val="bg1">
                <a:lumMod val="85000"/>
              </a:schemeClr>
            </a:fgClr>
            <a:bgClr>
              <a:schemeClr val="bg1"/>
            </a:bgClr>
          </a:pattFill>
          <a:ln>
            <a:noFill/>
          </a:ln>
        </p:spPr>
        <p:txBody>
          <a:bodyPr/>
          <a:lstStyle>
            <a:lvl1pPr marL="0" indent="0" algn="r">
              <a:buNone/>
              <a:defRPr sz="600"/>
            </a:lvl1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 hasCustomPrompt="1"/>
          </p:nvPr>
        </p:nvSpPr>
        <p:spPr bwMode="auto">
          <a:xfrm>
            <a:off x="2996899" y="4484452"/>
            <a:ext cx="6100832" cy="998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182843" tIns="91422" rIns="182843" bIns="91422" numCol="1" anchor="ctr" anchorCtr="0" compatLnSpc="1">
            <a:prstTxWarp prst="textNoShape">
              <a:avLst/>
            </a:prstTxWarp>
          </a:bodyPr>
          <a:lstStyle>
            <a:lvl1pPr algn="ctr">
              <a:defRPr sz="3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x-none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9907697"/>
      </p:ext>
    </p:extLst>
  </p:cSld>
  <p:clrMapOvr>
    <a:masterClrMapping/>
  </p:clrMapOvr>
  <p:transition spd="slow"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Image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4"/>
          </p:nvPr>
        </p:nvSpPr>
        <p:spPr bwMode="auto">
          <a:xfrm>
            <a:off x="0" y="-2823"/>
            <a:ext cx="12045979" cy="6860823"/>
          </a:xfrm>
          <a:custGeom>
            <a:avLst/>
            <a:gdLst>
              <a:gd name="connsiteX0" fmla="*/ 2325805 w 4572000"/>
              <a:gd name="connsiteY0" fmla="*/ 17 h 5149145"/>
              <a:gd name="connsiteX1" fmla="*/ 2853613 w 4572000"/>
              <a:gd name="connsiteY1" fmla="*/ 5645 h 5149145"/>
              <a:gd name="connsiteX2" fmla="*/ 4085616 w 4572000"/>
              <a:gd name="connsiteY2" fmla="*/ 602545 h 5149145"/>
              <a:gd name="connsiteX3" fmla="*/ 4517342 w 4572000"/>
              <a:gd name="connsiteY3" fmla="*/ 1796345 h 5149145"/>
              <a:gd name="connsiteX4" fmla="*/ 3022092 w 4572000"/>
              <a:gd name="connsiteY4" fmla="*/ 5149145 h 5149145"/>
              <a:gd name="connsiteX5" fmla="*/ 1179353 w 4572000"/>
              <a:gd name="connsiteY5" fmla="*/ 5123745 h 5149145"/>
              <a:gd name="connsiteX6" fmla="*/ 136889 w 4572000"/>
              <a:gd name="connsiteY6" fmla="*/ 3828345 h 5149145"/>
              <a:gd name="connsiteX7" fmla="*/ 0 w 4572000"/>
              <a:gd name="connsiteY7" fmla="*/ 5645 h 5149145"/>
              <a:gd name="connsiteX8" fmla="*/ 2325805 w 4572000"/>
              <a:gd name="connsiteY8" fmla="*/ 17 h 51491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72000" h="5149145">
                <a:moveTo>
                  <a:pt x="2325805" y="17"/>
                </a:moveTo>
                <a:cubicBezTo>
                  <a:pt x="2649733" y="188"/>
                  <a:pt x="2867872" y="1676"/>
                  <a:pt x="2853613" y="5645"/>
                </a:cubicBezTo>
                <a:lnTo>
                  <a:pt x="4085616" y="602545"/>
                </a:lnTo>
                <a:cubicBezTo>
                  <a:pt x="4313765" y="769762"/>
                  <a:pt x="4719166" y="1042812"/>
                  <a:pt x="4517342" y="1796345"/>
                </a:cubicBezTo>
                <a:cubicBezTo>
                  <a:pt x="4462937" y="1902178"/>
                  <a:pt x="3034376" y="5111045"/>
                  <a:pt x="3022092" y="5149145"/>
                </a:cubicBezTo>
                <a:lnTo>
                  <a:pt x="1179353" y="5123745"/>
                </a:lnTo>
                <a:cubicBezTo>
                  <a:pt x="866965" y="5098345"/>
                  <a:pt x="177254" y="5030612"/>
                  <a:pt x="136889" y="3828345"/>
                </a:cubicBezTo>
                <a:lnTo>
                  <a:pt x="0" y="5645"/>
                </a:lnTo>
                <a:cubicBezTo>
                  <a:pt x="388511" y="5645"/>
                  <a:pt x="1613165" y="-358"/>
                  <a:pt x="2325805" y="17"/>
                </a:cubicBezTo>
                <a:close/>
              </a:path>
            </a:pathLst>
          </a:custGeom>
          <a:pattFill prst="pct90">
            <a:fgClr>
              <a:schemeClr val="bg1">
                <a:lumMod val="85000"/>
              </a:schemeClr>
            </a:fgClr>
            <a:bgClr>
              <a:schemeClr val="bg1"/>
            </a:bgClr>
          </a:pattFill>
          <a:ln>
            <a:noFill/>
          </a:ln>
        </p:spPr>
        <p:txBody>
          <a:bodyPr wrap="square">
            <a:noAutofit/>
          </a:bodyPr>
          <a:lstStyle>
            <a:lvl1pPr marL="0" indent="0">
              <a:buNone/>
              <a:defRPr sz="450"/>
            </a:lvl1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 hasCustomPrompt="1"/>
          </p:nvPr>
        </p:nvSpPr>
        <p:spPr bwMode="auto">
          <a:xfrm>
            <a:off x="505969" y="4960371"/>
            <a:ext cx="8356683" cy="502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182843" tIns="91422" rIns="182843" bIns="91422" numCol="1" anchor="ctr" anchorCtr="0" compatLnSpc="1">
            <a:prstTxWarp prst="textNoShape">
              <a:avLst/>
            </a:prstTxWarp>
          </a:bodyPr>
          <a:lstStyle>
            <a:lvl1pPr algn="ctr">
              <a:defRPr sz="3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x-none"/>
              <a:t>CLICK TO EDIT MASTER TITLE STY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155218" y="6407635"/>
            <a:ext cx="1621441" cy="262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9851006"/>
      </p:ext>
    </p:extLst>
  </p:cSld>
  <p:clrMapOvr>
    <a:masterClrMapping/>
  </p:clrMapOvr>
  <p:transition spd="slow"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out 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838419" y="1359759"/>
            <a:ext cx="10515163" cy="2937439"/>
          </a:xfrm>
          <a:effectLst/>
        </p:spPr>
        <p:txBody>
          <a:bodyPr rtlCol="0">
            <a:normAutofit/>
          </a:bodyPr>
          <a:lstStyle>
            <a:lvl1pPr marL="0" indent="0">
              <a:buNone/>
              <a:defRPr sz="21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838419" y="4468876"/>
            <a:ext cx="10515163" cy="1664296"/>
          </a:xfrm>
        </p:spPr>
        <p:txBody>
          <a:bodyPr/>
          <a:lstStyle>
            <a:lvl1pPr marL="0" indent="0">
              <a:buNone/>
              <a:defRPr sz="20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 bwMode="auto">
          <a:xfrm>
            <a:off x="838419" y="611653"/>
            <a:ext cx="10515163" cy="502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182843" tIns="91422" rIns="182843" bIns="91422" numCol="1" anchor="ctr" anchorCtr="0" compatLnSpc="1">
            <a:prstTxWarp prst="textNoShape">
              <a:avLst/>
            </a:prstTxWarp>
          </a:bodyPr>
          <a:lstStyle>
            <a:lvl1pPr algn="ctr">
              <a:defRPr sz="3800" b="1">
                <a:solidFill>
                  <a:srgbClr val="00AAF0"/>
                </a:solidFill>
              </a:defRPr>
            </a:lvl1pPr>
          </a:lstStyle>
          <a:p>
            <a:pPr lvl="0"/>
            <a:r>
              <a:rPr lang="en-US" altLang="x-none"/>
              <a:t>CLICK TO EDIT MASTER TITLE STYLE</a:t>
            </a:r>
          </a:p>
        </p:txBody>
      </p:sp>
      <p:sp>
        <p:nvSpPr>
          <p:cNvPr id="18" name="Rectangle 17"/>
          <p:cNvSpPr>
            <a:spLocks/>
          </p:cNvSpPr>
          <p:nvPr userDrawn="1"/>
        </p:nvSpPr>
        <p:spPr bwMode="auto">
          <a:xfrm>
            <a:off x="5645162" y="364957"/>
            <a:ext cx="904864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5pPr>
            <a:lvl6pPr marL="25146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6pPr>
            <a:lvl7pPr marL="29718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7pPr>
            <a:lvl8pPr marL="34290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8pPr>
            <a:lvl9pPr marL="38862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9pPr>
          </a:lstStyle>
          <a:p>
            <a:pPr algn="ctr"/>
            <a:r>
              <a:rPr lang="en-US" altLang="x-none" sz="1400" b="1">
                <a:solidFill>
                  <a:schemeClr val="bg1">
                    <a:lumMod val="65000"/>
                  </a:schemeClr>
                </a:solidFill>
                <a:latin typeface="+mn-lt"/>
                <a:sym typeface="Montserrat-Regular" charset="0"/>
              </a:rPr>
              <a:t>PAHO/WHO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155218" y="6407635"/>
            <a:ext cx="1621441" cy="262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5051060"/>
      </p:ext>
    </p:extLst>
  </p:cSld>
  <p:clrMapOvr>
    <a:masterClrMapping/>
  </p:clrMapOvr>
  <p:transition spd="slow"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eet The Squad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3"/>
          <p:cNvSpPr>
            <a:spLocks noGrp="1" noChangeAspect="1"/>
          </p:cNvSpPr>
          <p:nvPr>
            <p:ph type="pic" sz="quarter" idx="14"/>
          </p:nvPr>
        </p:nvSpPr>
        <p:spPr>
          <a:xfrm>
            <a:off x="9175135" y="1714413"/>
            <a:ext cx="2008210" cy="2006407"/>
          </a:xfrm>
          <a:prstGeom prst="ellipse">
            <a:avLst/>
          </a:prstGeom>
          <a:pattFill prst="pct90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rtlCol="0">
            <a:noAutofit/>
          </a:bodyPr>
          <a:lstStyle>
            <a:lvl1pPr marL="0" indent="0">
              <a:lnSpc>
                <a:spcPct val="130000"/>
              </a:lnSpc>
              <a:buNone/>
              <a:defRPr sz="1200" baseline="0"/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17" name="Picture Placeholder 13"/>
          <p:cNvSpPr>
            <a:spLocks noGrp="1" noChangeAspect="1"/>
          </p:cNvSpPr>
          <p:nvPr>
            <p:ph type="pic" sz="quarter" idx="15"/>
          </p:nvPr>
        </p:nvSpPr>
        <p:spPr>
          <a:xfrm>
            <a:off x="6400490" y="1714413"/>
            <a:ext cx="2008210" cy="2006407"/>
          </a:xfrm>
          <a:prstGeom prst="ellipse">
            <a:avLst/>
          </a:prstGeom>
          <a:pattFill prst="pct90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rtlCol="0">
            <a:noAutofit/>
          </a:bodyPr>
          <a:lstStyle>
            <a:lvl1pPr marL="0" indent="0">
              <a:lnSpc>
                <a:spcPct val="130000"/>
              </a:lnSpc>
              <a:buNone/>
              <a:defRPr sz="1200" baseline="0"/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21" name="Picture Placeholder 13"/>
          <p:cNvSpPr>
            <a:spLocks noGrp="1" noChangeAspect="1"/>
          </p:cNvSpPr>
          <p:nvPr>
            <p:ph type="pic" sz="quarter" idx="16"/>
          </p:nvPr>
        </p:nvSpPr>
        <p:spPr>
          <a:xfrm>
            <a:off x="3719373" y="1714413"/>
            <a:ext cx="2008210" cy="2006407"/>
          </a:xfrm>
          <a:prstGeom prst="ellipse">
            <a:avLst/>
          </a:prstGeom>
          <a:pattFill prst="pct90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rtlCol="0">
            <a:noAutofit/>
          </a:bodyPr>
          <a:lstStyle>
            <a:lvl1pPr marL="0" indent="0">
              <a:lnSpc>
                <a:spcPct val="130000"/>
              </a:lnSpc>
              <a:buNone/>
              <a:defRPr sz="1200" baseline="0"/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27" name="Picture Placeholder 13"/>
          <p:cNvSpPr>
            <a:spLocks noGrp="1" noChangeAspect="1"/>
          </p:cNvSpPr>
          <p:nvPr>
            <p:ph type="pic" sz="quarter" idx="17"/>
          </p:nvPr>
        </p:nvSpPr>
        <p:spPr>
          <a:xfrm>
            <a:off x="944728" y="1714413"/>
            <a:ext cx="2008210" cy="2006407"/>
          </a:xfrm>
          <a:prstGeom prst="ellipse">
            <a:avLst/>
          </a:prstGeom>
          <a:pattFill prst="pct90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rtlCol="0">
            <a:noAutofit/>
          </a:bodyPr>
          <a:lstStyle>
            <a:lvl1pPr marL="0" indent="0">
              <a:lnSpc>
                <a:spcPct val="130000"/>
              </a:lnSpc>
              <a:buNone/>
              <a:defRPr sz="1200" baseline="0"/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838419" y="3969835"/>
            <a:ext cx="2114520" cy="2029522"/>
          </a:xfrm>
        </p:spPr>
        <p:txBody>
          <a:bodyPr/>
          <a:lstStyle>
            <a:lvl1pPr marL="0" indent="0">
              <a:buNone/>
              <a:defRPr sz="18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8"/>
          </p:nvPr>
        </p:nvSpPr>
        <p:spPr>
          <a:xfrm>
            <a:off x="3613063" y="3969835"/>
            <a:ext cx="2114520" cy="2029522"/>
          </a:xfrm>
        </p:spPr>
        <p:txBody>
          <a:bodyPr/>
          <a:lstStyle>
            <a:lvl1pPr marL="0" indent="0">
              <a:buNone/>
              <a:defRPr sz="18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/>
          </p:nvPr>
        </p:nvSpPr>
        <p:spPr>
          <a:xfrm>
            <a:off x="6294180" y="3969835"/>
            <a:ext cx="2114520" cy="2029522"/>
          </a:xfrm>
        </p:spPr>
        <p:txBody>
          <a:bodyPr/>
          <a:lstStyle>
            <a:lvl1pPr marL="0" indent="0">
              <a:buNone/>
              <a:defRPr sz="18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Content Placeholder 2"/>
          <p:cNvSpPr>
            <a:spLocks noGrp="1"/>
          </p:cNvSpPr>
          <p:nvPr>
            <p:ph idx="20"/>
          </p:nvPr>
        </p:nvSpPr>
        <p:spPr>
          <a:xfrm>
            <a:off x="9068826" y="3969835"/>
            <a:ext cx="2114520" cy="2029522"/>
          </a:xfrm>
        </p:spPr>
        <p:txBody>
          <a:bodyPr/>
          <a:lstStyle>
            <a:lvl1pPr marL="0" indent="0">
              <a:buNone/>
              <a:defRPr sz="18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itle Placeholder 1"/>
          <p:cNvSpPr>
            <a:spLocks noGrp="1"/>
          </p:cNvSpPr>
          <p:nvPr>
            <p:ph type="title" hasCustomPrompt="1"/>
          </p:nvPr>
        </p:nvSpPr>
        <p:spPr bwMode="auto">
          <a:xfrm>
            <a:off x="838419" y="611654"/>
            <a:ext cx="10515163" cy="8537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182843" tIns="91422" rIns="182843" bIns="91422" numCol="1" anchor="ctr" anchorCtr="0" compatLnSpc="1">
            <a:prstTxWarp prst="textNoShape">
              <a:avLst/>
            </a:prstTxWarp>
          </a:bodyPr>
          <a:lstStyle>
            <a:lvl1pPr algn="ctr">
              <a:defRPr sz="3800" b="1">
                <a:solidFill>
                  <a:srgbClr val="00AAF0"/>
                </a:solidFill>
              </a:defRPr>
            </a:lvl1pPr>
          </a:lstStyle>
          <a:p>
            <a:pPr lvl="0"/>
            <a:r>
              <a:rPr lang="en-US" altLang="x-none"/>
              <a:t>CLICK TO EDIT MASTER TITLE STYLE</a:t>
            </a:r>
          </a:p>
        </p:txBody>
      </p:sp>
      <p:sp>
        <p:nvSpPr>
          <p:cNvPr id="26" name="Rectangle 25"/>
          <p:cNvSpPr>
            <a:spLocks/>
          </p:cNvSpPr>
          <p:nvPr userDrawn="1"/>
        </p:nvSpPr>
        <p:spPr bwMode="auto">
          <a:xfrm>
            <a:off x="5645162" y="364957"/>
            <a:ext cx="904864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5pPr>
            <a:lvl6pPr marL="25146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6pPr>
            <a:lvl7pPr marL="29718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7pPr>
            <a:lvl8pPr marL="34290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8pPr>
            <a:lvl9pPr marL="38862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9pPr>
          </a:lstStyle>
          <a:p>
            <a:pPr algn="ctr"/>
            <a:r>
              <a:rPr lang="en-US" altLang="x-none" sz="1400" b="1">
                <a:solidFill>
                  <a:schemeClr val="bg1">
                    <a:lumMod val="65000"/>
                  </a:schemeClr>
                </a:solidFill>
                <a:latin typeface="+mn-lt"/>
                <a:sym typeface="Montserrat-Regular" charset="0"/>
              </a:rPr>
              <a:t>PAHO/WHO</a:t>
            </a:r>
          </a:p>
        </p:txBody>
      </p:sp>
      <p:grpSp>
        <p:nvGrpSpPr>
          <p:cNvPr id="28" name="Group 27"/>
          <p:cNvGrpSpPr/>
          <p:nvPr userDrawn="1"/>
        </p:nvGrpSpPr>
        <p:grpSpPr>
          <a:xfrm>
            <a:off x="5897563" y="1470034"/>
            <a:ext cx="400050" cy="95250"/>
            <a:chOff x="1942594" y="2781300"/>
            <a:chExt cx="799891" cy="190500"/>
          </a:xfrm>
          <a:pattFill prst="pct90">
            <a:fgClr>
              <a:schemeClr val="bg1">
                <a:lumMod val="85000"/>
              </a:schemeClr>
            </a:fgClr>
            <a:bgClr>
              <a:schemeClr val="bg1"/>
            </a:bgClr>
          </a:pattFill>
        </p:grpSpPr>
        <p:sp>
          <p:nvSpPr>
            <p:cNvPr id="29" name="Oval 3"/>
            <p:cNvSpPr>
              <a:spLocks/>
            </p:cNvSpPr>
            <p:nvPr/>
          </p:nvSpPr>
          <p:spPr bwMode="auto">
            <a:xfrm>
              <a:off x="1942594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  <p:sp>
          <p:nvSpPr>
            <p:cNvPr id="30" name="Oval 4"/>
            <p:cNvSpPr>
              <a:spLocks/>
            </p:cNvSpPr>
            <p:nvPr/>
          </p:nvSpPr>
          <p:spPr bwMode="auto">
            <a:xfrm>
              <a:off x="2247315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  <p:sp>
          <p:nvSpPr>
            <p:cNvPr id="31" name="Oval 5"/>
            <p:cNvSpPr>
              <a:spLocks/>
            </p:cNvSpPr>
            <p:nvPr/>
          </p:nvSpPr>
          <p:spPr bwMode="auto">
            <a:xfrm>
              <a:off x="2552035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</p:grp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155218" y="6407635"/>
            <a:ext cx="1621441" cy="262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7078158"/>
      </p:ext>
    </p:extLst>
  </p:cSld>
  <p:clrMapOvr>
    <a:masterClrMapping/>
  </p:clrMapOvr>
  <p:transition spd="slow"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et The Squad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3"/>
          <p:cNvSpPr>
            <a:spLocks noGrp="1"/>
          </p:cNvSpPr>
          <p:nvPr>
            <p:ph type="pic" sz="quarter" idx="21"/>
          </p:nvPr>
        </p:nvSpPr>
        <p:spPr>
          <a:xfrm>
            <a:off x="9225268" y="1966934"/>
            <a:ext cx="1703304" cy="1923353"/>
          </a:xfrm>
          <a:pattFill prst="pct90">
            <a:fgClr>
              <a:schemeClr val="bg1">
                <a:lumMod val="85000"/>
              </a:schemeClr>
            </a:fgClr>
            <a:bgClr>
              <a:schemeClr val="bg1"/>
            </a:bgClr>
          </a:pattFill>
          <a:effectLst/>
        </p:spPr>
        <p:txBody>
          <a:bodyPr rtlCol="0">
            <a:normAutofit/>
          </a:bodyPr>
          <a:lstStyle>
            <a:lvl1pPr marL="0" indent="0">
              <a:buNone/>
              <a:defRPr sz="21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16" name="Picture Placeholder 13"/>
          <p:cNvSpPr>
            <a:spLocks noGrp="1"/>
          </p:cNvSpPr>
          <p:nvPr>
            <p:ph type="pic" sz="quarter" idx="22"/>
          </p:nvPr>
        </p:nvSpPr>
        <p:spPr>
          <a:xfrm>
            <a:off x="5247164" y="1966934"/>
            <a:ext cx="1703304" cy="1923353"/>
          </a:xfrm>
          <a:pattFill prst="pct90">
            <a:fgClr>
              <a:schemeClr val="bg1">
                <a:lumMod val="85000"/>
              </a:schemeClr>
            </a:fgClr>
            <a:bgClr>
              <a:schemeClr val="bg1"/>
            </a:bgClr>
          </a:pattFill>
          <a:effectLst/>
        </p:spPr>
        <p:txBody>
          <a:bodyPr rtlCol="0">
            <a:normAutofit/>
          </a:bodyPr>
          <a:lstStyle>
            <a:lvl1pPr marL="0" indent="0">
              <a:buNone/>
              <a:defRPr sz="21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22" name="Picture Placeholder 13"/>
          <p:cNvSpPr>
            <a:spLocks noGrp="1"/>
          </p:cNvSpPr>
          <p:nvPr>
            <p:ph type="pic" sz="quarter" idx="23"/>
          </p:nvPr>
        </p:nvSpPr>
        <p:spPr>
          <a:xfrm>
            <a:off x="3252541" y="1966934"/>
            <a:ext cx="1703304" cy="1923353"/>
          </a:xfrm>
          <a:pattFill prst="pct90">
            <a:fgClr>
              <a:schemeClr val="bg1">
                <a:lumMod val="85000"/>
              </a:schemeClr>
            </a:fgClr>
            <a:bgClr>
              <a:schemeClr val="bg1"/>
            </a:bgClr>
          </a:pattFill>
          <a:effectLst/>
        </p:spPr>
        <p:txBody>
          <a:bodyPr rtlCol="0">
            <a:normAutofit/>
          </a:bodyPr>
          <a:lstStyle>
            <a:lvl1pPr marL="0" indent="0">
              <a:buNone/>
              <a:defRPr sz="21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25" name="Picture Placeholder 13"/>
          <p:cNvSpPr>
            <a:spLocks noGrp="1"/>
          </p:cNvSpPr>
          <p:nvPr>
            <p:ph type="pic" sz="quarter" idx="24"/>
          </p:nvPr>
        </p:nvSpPr>
        <p:spPr>
          <a:xfrm>
            <a:off x="1269061" y="1966934"/>
            <a:ext cx="1703304" cy="1923353"/>
          </a:xfrm>
          <a:pattFill prst="pct90">
            <a:fgClr>
              <a:schemeClr val="bg1">
                <a:lumMod val="85000"/>
              </a:schemeClr>
            </a:fgClr>
            <a:bgClr>
              <a:schemeClr val="bg1"/>
            </a:bgClr>
          </a:pattFill>
          <a:effectLst/>
        </p:spPr>
        <p:txBody>
          <a:bodyPr rtlCol="0">
            <a:normAutofit/>
          </a:bodyPr>
          <a:lstStyle>
            <a:lvl1pPr marL="0" indent="0">
              <a:buNone/>
              <a:defRPr sz="21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28" name="Picture Placeholder 13"/>
          <p:cNvSpPr>
            <a:spLocks noGrp="1"/>
          </p:cNvSpPr>
          <p:nvPr>
            <p:ph type="pic" sz="quarter" idx="25"/>
          </p:nvPr>
        </p:nvSpPr>
        <p:spPr>
          <a:xfrm>
            <a:off x="7230645" y="1966934"/>
            <a:ext cx="1703304" cy="1923353"/>
          </a:xfrm>
          <a:pattFill prst="pct90">
            <a:fgClr>
              <a:schemeClr val="bg1">
                <a:lumMod val="85000"/>
              </a:schemeClr>
            </a:fgClr>
            <a:bgClr>
              <a:schemeClr val="bg1"/>
            </a:bgClr>
          </a:pattFill>
          <a:effectLst/>
        </p:spPr>
        <p:txBody>
          <a:bodyPr rtlCol="0">
            <a:normAutofit/>
          </a:bodyPr>
          <a:lstStyle>
            <a:lvl1pPr marL="0" indent="0">
              <a:buNone/>
              <a:defRPr sz="21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21" name="Title Placeholder 1"/>
          <p:cNvSpPr>
            <a:spLocks noGrp="1"/>
          </p:cNvSpPr>
          <p:nvPr>
            <p:ph type="title" hasCustomPrompt="1"/>
          </p:nvPr>
        </p:nvSpPr>
        <p:spPr bwMode="auto">
          <a:xfrm>
            <a:off x="838419" y="611654"/>
            <a:ext cx="10515163" cy="8583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182843" tIns="91422" rIns="182843" bIns="91422" numCol="1" anchor="ctr" anchorCtr="0" compatLnSpc="1">
            <a:prstTxWarp prst="textNoShape">
              <a:avLst/>
            </a:prstTxWarp>
          </a:bodyPr>
          <a:lstStyle>
            <a:lvl1pPr algn="ctr">
              <a:defRPr sz="3800" b="1">
                <a:solidFill>
                  <a:srgbClr val="00AAF0"/>
                </a:solidFill>
              </a:defRPr>
            </a:lvl1pPr>
          </a:lstStyle>
          <a:p>
            <a:pPr lvl="0"/>
            <a:r>
              <a:rPr lang="en-US" altLang="x-none"/>
              <a:t>CLICK TO EDIT MASTER TITLE STYLE</a:t>
            </a:r>
          </a:p>
        </p:txBody>
      </p:sp>
      <p:sp>
        <p:nvSpPr>
          <p:cNvPr id="23" name="Rectangle 22"/>
          <p:cNvSpPr>
            <a:spLocks/>
          </p:cNvSpPr>
          <p:nvPr userDrawn="1"/>
        </p:nvSpPr>
        <p:spPr bwMode="auto">
          <a:xfrm>
            <a:off x="5645162" y="364957"/>
            <a:ext cx="904864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5pPr>
            <a:lvl6pPr marL="25146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6pPr>
            <a:lvl7pPr marL="29718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7pPr>
            <a:lvl8pPr marL="34290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8pPr>
            <a:lvl9pPr marL="38862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9pPr>
          </a:lstStyle>
          <a:p>
            <a:pPr algn="ctr"/>
            <a:r>
              <a:rPr lang="en-US" altLang="x-none" sz="1400" b="1">
                <a:solidFill>
                  <a:schemeClr val="bg1">
                    <a:lumMod val="65000"/>
                  </a:schemeClr>
                </a:solidFill>
                <a:latin typeface="+mn-lt"/>
                <a:sym typeface="Montserrat-Regular" charset="0"/>
              </a:rPr>
              <a:t>PAHO/WHO</a:t>
            </a:r>
          </a:p>
        </p:txBody>
      </p:sp>
      <p:grpSp>
        <p:nvGrpSpPr>
          <p:cNvPr id="24" name="Group 23"/>
          <p:cNvGrpSpPr/>
          <p:nvPr userDrawn="1"/>
        </p:nvGrpSpPr>
        <p:grpSpPr>
          <a:xfrm>
            <a:off x="5897563" y="1470034"/>
            <a:ext cx="400050" cy="95250"/>
            <a:chOff x="1942594" y="2781300"/>
            <a:chExt cx="799891" cy="190500"/>
          </a:xfrm>
          <a:solidFill>
            <a:schemeClr val="bg1">
              <a:lumMod val="85000"/>
            </a:schemeClr>
          </a:solidFill>
        </p:grpSpPr>
        <p:sp>
          <p:nvSpPr>
            <p:cNvPr id="26" name="Oval 3"/>
            <p:cNvSpPr>
              <a:spLocks/>
            </p:cNvSpPr>
            <p:nvPr/>
          </p:nvSpPr>
          <p:spPr bwMode="auto">
            <a:xfrm>
              <a:off x="1942594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  <p:sp>
          <p:nvSpPr>
            <p:cNvPr id="27" name="Oval 4"/>
            <p:cNvSpPr>
              <a:spLocks/>
            </p:cNvSpPr>
            <p:nvPr/>
          </p:nvSpPr>
          <p:spPr bwMode="auto">
            <a:xfrm>
              <a:off x="2247315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  <p:sp>
          <p:nvSpPr>
            <p:cNvPr id="29" name="Oval 5"/>
            <p:cNvSpPr>
              <a:spLocks/>
            </p:cNvSpPr>
            <p:nvPr/>
          </p:nvSpPr>
          <p:spPr bwMode="auto">
            <a:xfrm>
              <a:off x="2552035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</p:grp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155218" y="6407635"/>
            <a:ext cx="1621441" cy="262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6075150"/>
      </p:ext>
    </p:extLst>
  </p:cSld>
  <p:clrMapOvr>
    <a:masterClrMapping/>
  </p:clrMapOvr>
  <p:transition spd="slow"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838418" y="1905788"/>
            <a:ext cx="5154394" cy="41410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itle Placeholder 1"/>
          <p:cNvSpPr>
            <a:spLocks noGrp="1"/>
          </p:cNvSpPr>
          <p:nvPr>
            <p:ph type="title" hasCustomPrompt="1"/>
          </p:nvPr>
        </p:nvSpPr>
        <p:spPr bwMode="auto">
          <a:xfrm>
            <a:off x="838419" y="611654"/>
            <a:ext cx="10515163" cy="8583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182843" tIns="91422" rIns="182843" bIns="91422" numCol="1" anchor="ctr" anchorCtr="0" compatLnSpc="1">
            <a:prstTxWarp prst="textNoShape">
              <a:avLst/>
            </a:prstTxWarp>
          </a:bodyPr>
          <a:lstStyle>
            <a:lvl1pPr algn="ctr">
              <a:defRPr sz="3800" b="1">
                <a:solidFill>
                  <a:srgbClr val="00AAF0"/>
                </a:solidFill>
              </a:defRPr>
            </a:lvl1pPr>
          </a:lstStyle>
          <a:p>
            <a:pPr lvl="0"/>
            <a:r>
              <a:rPr lang="en-US" altLang="x-none"/>
              <a:t>CLICK TO EDIT MASTER TITLE STYLE</a:t>
            </a:r>
          </a:p>
        </p:txBody>
      </p:sp>
      <p:sp>
        <p:nvSpPr>
          <p:cNvPr id="19" name="Rectangle 18"/>
          <p:cNvSpPr>
            <a:spLocks/>
          </p:cNvSpPr>
          <p:nvPr userDrawn="1"/>
        </p:nvSpPr>
        <p:spPr bwMode="auto">
          <a:xfrm>
            <a:off x="5645162" y="364957"/>
            <a:ext cx="904864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5pPr>
            <a:lvl6pPr marL="25146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6pPr>
            <a:lvl7pPr marL="29718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7pPr>
            <a:lvl8pPr marL="34290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8pPr>
            <a:lvl9pPr marL="38862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9pPr>
          </a:lstStyle>
          <a:p>
            <a:pPr algn="ctr"/>
            <a:r>
              <a:rPr lang="en-US" altLang="x-none" sz="1400" b="1">
                <a:solidFill>
                  <a:schemeClr val="bg1">
                    <a:lumMod val="65000"/>
                  </a:schemeClr>
                </a:solidFill>
                <a:latin typeface="+mn-lt"/>
                <a:sym typeface="Montserrat-Regular" charset="0"/>
              </a:rPr>
              <a:t>PAHO/WHO</a:t>
            </a:r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5897563" y="1470034"/>
            <a:ext cx="400050" cy="95250"/>
            <a:chOff x="1942594" y="2781300"/>
            <a:chExt cx="799891" cy="190500"/>
          </a:xfrm>
          <a:solidFill>
            <a:schemeClr val="bg1">
              <a:lumMod val="85000"/>
            </a:schemeClr>
          </a:solidFill>
        </p:grpSpPr>
        <p:sp>
          <p:nvSpPr>
            <p:cNvPr id="21" name="Oval 3"/>
            <p:cNvSpPr>
              <a:spLocks/>
            </p:cNvSpPr>
            <p:nvPr/>
          </p:nvSpPr>
          <p:spPr bwMode="auto">
            <a:xfrm>
              <a:off x="1942594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  <p:sp>
          <p:nvSpPr>
            <p:cNvPr id="22" name="Oval 4"/>
            <p:cNvSpPr>
              <a:spLocks/>
            </p:cNvSpPr>
            <p:nvPr/>
          </p:nvSpPr>
          <p:spPr bwMode="auto">
            <a:xfrm>
              <a:off x="2247315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  <p:sp>
          <p:nvSpPr>
            <p:cNvPr id="23" name="Oval 5"/>
            <p:cNvSpPr>
              <a:spLocks/>
            </p:cNvSpPr>
            <p:nvPr/>
          </p:nvSpPr>
          <p:spPr bwMode="auto">
            <a:xfrm>
              <a:off x="2552035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</p:grpSp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auto">
          <a:xfrm>
            <a:off x="6145213" y="1905789"/>
            <a:ext cx="5512412" cy="4141051"/>
          </a:xfrm>
          <a:custGeom>
            <a:avLst/>
            <a:gdLst>
              <a:gd name="connsiteX0" fmla="*/ 2325805 w 4572000"/>
              <a:gd name="connsiteY0" fmla="*/ 17 h 5149145"/>
              <a:gd name="connsiteX1" fmla="*/ 2853613 w 4572000"/>
              <a:gd name="connsiteY1" fmla="*/ 5645 h 5149145"/>
              <a:gd name="connsiteX2" fmla="*/ 4085616 w 4572000"/>
              <a:gd name="connsiteY2" fmla="*/ 602545 h 5149145"/>
              <a:gd name="connsiteX3" fmla="*/ 4517342 w 4572000"/>
              <a:gd name="connsiteY3" fmla="*/ 1796345 h 5149145"/>
              <a:gd name="connsiteX4" fmla="*/ 3022092 w 4572000"/>
              <a:gd name="connsiteY4" fmla="*/ 5149145 h 5149145"/>
              <a:gd name="connsiteX5" fmla="*/ 1179353 w 4572000"/>
              <a:gd name="connsiteY5" fmla="*/ 5123745 h 5149145"/>
              <a:gd name="connsiteX6" fmla="*/ 136889 w 4572000"/>
              <a:gd name="connsiteY6" fmla="*/ 3828345 h 5149145"/>
              <a:gd name="connsiteX7" fmla="*/ 0 w 4572000"/>
              <a:gd name="connsiteY7" fmla="*/ 5645 h 5149145"/>
              <a:gd name="connsiteX8" fmla="*/ 2325805 w 4572000"/>
              <a:gd name="connsiteY8" fmla="*/ 17 h 51491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72000" h="5149145">
                <a:moveTo>
                  <a:pt x="2325805" y="17"/>
                </a:moveTo>
                <a:cubicBezTo>
                  <a:pt x="2649733" y="188"/>
                  <a:pt x="2867872" y="1676"/>
                  <a:pt x="2853613" y="5645"/>
                </a:cubicBezTo>
                <a:lnTo>
                  <a:pt x="4085616" y="602545"/>
                </a:lnTo>
                <a:cubicBezTo>
                  <a:pt x="4313765" y="769762"/>
                  <a:pt x="4719166" y="1042812"/>
                  <a:pt x="4517342" y="1796345"/>
                </a:cubicBezTo>
                <a:cubicBezTo>
                  <a:pt x="4462937" y="1902178"/>
                  <a:pt x="3034376" y="5111045"/>
                  <a:pt x="3022092" y="5149145"/>
                </a:cubicBezTo>
                <a:lnTo>
                  <a:pt x="1179353" y="5123745"/>
                </a:lnTo>
                <a:cubicBezTo>
                  <a:pt x="866965" y="5098345"/>
                  <a:pt x="177254" y="5030612"/>
                  <a:pt x="136889" y="3828345"/>
                </a:cubicBezTo>
                <a:lnTo>
                  <a:pt x="0" y="5645"/>
                </a:lnTo>
                <a:cubicBezTo>
                  <a:pt x="388511" y="5645"/>
                  <a:pt x="1613165" y="-358"/>
                  <a:pt x="2325805" y="17"/>
                </a:cubicBezTo>
                <a:close/>
              </a:path>
            </a:pathLst>
          </a:custGeom>
          <a:pattFill prst="pct90">
            <a:fgClr>
              <a:schemeClr val="bg1">
                <a:lumMod val="85000"/>
              </a:schemeClr>
            </a:fgClr>
            <a:bgClr>
              <a:schemeClr val="bg1"/>
            </a:bgClr>
          </a:pattFill>
          <a:ln>
            <a:noFill/>
          </a:ln>
        </p:spPr>
        <p:txBody>
          <a:bodyPr wrap="square">
            <a:noAutofit/>
          </a:bodyPr>
          <a:lstStyle>
            <a:lvl1pPr marL="0" indent="0">
              <a:buNone/>
              <a:defRPr sz="450"/>
            </a:lvl1pPr>
          </a:lstStyle>
          <a:p>
            <a:r>
              <a:rPr lang="en-US"/>
              <a:t>Drag picture to placeholder or click icon to add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155218" y="6407635"/>
            <a:ext cx="1621441" cy="262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1824307"/>
      </p:ext>
    </p:extLst>
  </p:cSld>
  <p:clrMapOvr>
    <a:masterClrMapping/>
  </p:clrMapOvr>
  <p:transition spd="med"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act 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6145213" y="1905788"/>
            <a:ext cx="5154394" cy="41410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itle Placeholder 1"/>
          <p:cNvSpPr>
            <a:spLocks noGrp="1"/>
          </p:cNvSpPr>
          <p:nvPr>
            <p:ph type="title" hasCustomPrompt="1"/>
          </p:nvPr>
        </p:nvSpPr>
        <p:spPr bwMode="auto">
          <a:xfrm>
            <a:off x="838419" y="611654"/>
            <a:ext cx="10515163" cy="8583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182843" tIns="91422" rIns="182843" bIns="91422" numCol="1" anchor="ctr" anchorCtr="0" compatLnSpc="1">
            <a:prstTxWarp prst="textNoShape">
              <a:avLst/>
            </a:prstTxWarp>
          </a:bodyPr>
          <a:lstStyle>
            <a:lvl1pPr algn="ctr">
              <a:defRPr sz="3800" b="1">
                <a:solidFill>
                  <a:srgbClr val="00AAF0"/>
                </a:solidFill>
              </a:defRPr>
            </a:lvl1pPr>
          </a:lstStyle>
          <a:p>
            <a:pPr lvl="0"/>
            <a:r>
              <a:rPr lang="en-US" altLang="x-none"/>
              <a:t>CLICK TO EDIT MASTER TITLE STYLE</a:t>
            </a:r>
          </a:p>
        </p:txBody>
      </p:sp>
      <p:sp>
        <p:nvSpPr>
          <p:cNvPr id="19" name="Rectangle 18"/>
          <p:cNvSpPr>
            <a:spLocks/>
          </p:cNvSpPr>
          <p:nvPr userDrawn="1"/>
        </p:nvSpPr>
        <p:spPr bwMode="auto">
          <a:xfrm>
            <a:off x="5645162" y="364957"/>
            <a:ext cx="904864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5pPr>
            <a:lvl6pPr marL="25146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6pPr>
            <a:lvl7pPr marL="29718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7pPr>
            <a:lvl8pPr marL="34290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8pPr>
            <a:lvl9pPr marL="38862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9pPr>
          </a:lstStyle>
          <a:p>
            <a:pPr algn="ctr"/>
            <a:r>
              <a:rPr lang="en-US" altLang="x-none" sz="1400" b="1">
                <a:solidFill>
                  <a:schemeClr val="bg1">
                    <a:lumMod val="65000"/>
                  </a:schemeClr>
                </a:solidFill>
                <a:latin typeface="+mn-lt"/>
                <a:sym typeface="Montserrat-Regular" charset="0"/>
              </a:rPr>
              <a:t>PAHO/WHO</a:t>
            </a:r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5897563" y="1470034"/>
            <a:ext cx="400050" cy="95250"/>
            <a:chOff x="1942594" y="2781300"/>
            <a:chExt cx="799891" cy="190500"/>
          </a:xfrm>
          <a:solidFill>
            <a:schemeClr val="bg1">
              <a:lumMod val="85000"/>
            </a:schemeClr>
          </a:solidFill>
        </p:grpSpPr>
        <p:sp>
          <p:nvSpPr>
            <p:cNvPr id="21" name="Oval 3"/>
            <p:cNvSpPr>
              <a:spLocks/>
            </p:cNvSpPr>
            <p:nvPr/>
          </p:nvSpPr>
          <p:spPr bwMode="auto">
            <a:xfrm>
              <a:off x="1942594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  <p:sp>
          <p:nvSpPr>
            <p:cNvPr id="22" name="Oval 4"/>
            <p:cNvSpPr>
              <a:spLocks/>
            </p:cNvSpPr>
            <p:nvPr/>
          </p:nvSpPr>
          <p:spPr bwMode="auto">
            <a:xfrm>
              <a:off x="2247315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  <p:sp>
          <p:nvSpPr>
            <p:cNvPr id="23" name="Oval 5"/>
            <p:cNvSpPr>
              <a:spLocks/>
            </p:cNvSpPr>
            <p:nvPr/>
          </p:nvSpPr>
          <p:spPr bwMode="auto">
            <a:xfrm>
              <a:off x="2552035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</p:grpSp>
      <p:sp>
        <p:nvSpPr>
          <p:cNvPr id="13" name="Picture Placeholder 12"/>
          <p:cNvSpPr>
            <a:spLocks noGrp="1"/>
          </p:cNvSpPr>
          <p:nvPr>
            <p:ph type="pic" sz="quarter" idx="15"/>
          </p:nvPr>
        </p:nvSpPr>
        <p:spPr>
          <a:xfrm>
            <a:off x="368551" y="1905788"/>
            <a:ext cx="5576638" cy="4141052"/>
          </a:xfrm>
          <a:custGeom>
            <a:avLst/>
            <a:gdLst>
              <a:gd name="connsiteX0" fmla="*/ 1549908 w 4572000"/>
              <a:gd name="connsiteY0" fmla="*/ 0 h 8541100"/>
              <a:gd name="connsiteX1" fmla="*/ 3392647 w 4572000"/>
              <a:gd name="connsiteY1" fmla="*/ 42132 h 8541100"/>
              <a:gd name="connsiteX2" fmla="*/ 4435111 w 4572000"/>
              <a:gd name="connsiteY2" fmla="*/ 2190866 h 8541100"/>
              <a:gd name="connsiteX3" fmla="*/ 4572000 w 4572000"/>
              <a:gd name="connsiteY3" fmla="*/ 8531737 h 8541100"/>
              <a:gd name="connsiteX4" fmla="*/ 2246195 w 4572000"/>
              <a:gd name="connsiteY4" fmla="*/ 8541073 h 8541100"/>
              <a:gd name="connsiteX5" fmla="*/ 1718387 w 4572000"/>
              <a:gd name="connsiteY5" fmla="*/ 8531737 h 8541100"/>
              <a:gd name="connsiteX6" fmla="*/ 486384 w 4572000"/>
              <a:gd name="connsiteY6" fmla="*/ 7541635 h 8541100"/>
              <a:gd name="connsiteX7" fmla="*/ 54658 w 4572000"/>
              <a:gd name="connsiteY7" fmla="*/ 5561429 h 8541100"/>
              <a:gd name="connsiteX8" fmla="*/ 1549908 w 4572000"/>
              <a:gd name="connsiteY8" fmla="*/ 0 h 8541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72000" h="8541100">
                <a:moveTo>
                  <a:pt x="1549908" y="0"/>
                </a:moveTo>
                <a:lnTo>
                  <a:pt x="3392647" y="42132"/>
                </a:lnTo>
                <a:cubicBezTo>
                  <a:pt x="3705035" y="84264"/>
                  <a:pt x="4394746" y="196616"/>
                  <a:pt x="4435111" y="2190866"/>
                </a:cubicBezTo>
                <a:lnTo>
                  <a:pt x="4572000" y="8531737"/>
                </a:lnTo>
                <a:cubicBezTo>
                  <a:pt x="4183489" y="8531737"/>
                  <a:pt x="2958835" y="8541695"/>
                  <a:pt x="2246195" y="8541073"/>
                </a:cubicBezTo>
                <a:cubicBezTo>
                  <a:pt x="1922267" y="8540789"/>
                  <a:pt x="1704128" y="8538321"/>
                  <a:pt x="1718387" y="8531737"/>
                </a:cubicBezTo>
                <a:lnTo>
                  <a:pt x="486384" y="7541635"/>
                </a:lnTo>
                <a:cubicBezTo>
                  <a:pt x="258235" y="7264265"/>
                  <a:pt x="-147166" y="6811345"/>
                  <a:pt x="54658" y="5561429"/>
                </a:cubicBezTo>
                <a:cubicBezTo>
                  <a:pt x="109063" y="5385879"/>
                  <a:pt x="1537624" y="63198"/>
                  <a:pt x="1549908" y="0"/>
                </a:cubicBezTo>
                <a:close/>
              </a:path>
            </a:pathLst>
          </a:custGeom>
          <a:pattFill prst="pct90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wrap="square" rtlCol="0">
            <a:noAutofit/>
          </a:bodyPr>
          <a:lstStyle>
            <a:lvl1pPr marL="0" indent="0" algn="r">
              <a:buNone/>
              <a:defRPr sz="700">
                <a:solidFill>
                  <a:sysClr val="windowText" lastClr="000000"/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155218" y="6407635"/>
            <a:ext cx="1621441" cy="262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866388"/>
      </p:ext>
    </p:extLst>
  </p:cSld>
  <p:clrMapOvr>
    <a:masterClrMapping/>
  </p:clrMapOvr>
  <p:transition spd="med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F0B8CC-8CFD-416B-99B7-E6A11AAB45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E0E0D8D-0297-47A6-A003-771582FDF7C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C27EE57-4E95-4238-BC0D-9AF36B57E6C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74176B2-A3F7-4D65-B0B9-E9D2EB0CFD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3732C9-5F14-4951-A9C4-C0D69F294AC1}" type="datetimeFigureOut">
              <a:rPr lang="en-US" smtClean="0"/>
              <a:t>7/23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4FB3020-1C08-4FBE-82FE-016475C830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735A652-EF3C-4B9F-8417-E4F08C7413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B677A1-A2BC-49BA-8E98-86F5509D8B4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604947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Phon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/>
          <p:cNvSpPr>
            <a:spLocks noGrp="1"/>
          </p:cNvSpPr>
          <p:nvPr>
            <p:ph type="pic" sz="quarter" idx="14"/>
          </p:nvPr>
        </p:nvSpPr>
        <p:spPr>
          <a:xfrm>
            <a:off x="3137048" y="1891040"/>
            <a:ext cx="2350314" cy="4270550"/>
          </a:xfrm>
          <a:custGeom>
            <a:avLst/>
            <a:gdLst>
              <a:gd name="connsiteX0" fmla="*/ 1549908 w 4572000"/>
              <a:gd name="connsiteY0" fmla="*/ 0 h 8541100"/>
              <a:gd name="connsiteX1" fmla="*/ 3392647 w 4572000"/>
              <a:gd name="connsiteY1" fmla="*/ 42132 h 8541100"/>
              <a:gd name="connsiteX2" fmla="*/ 4435111 w 4572000"/>
              <a:gd name="connsiteY2" fmla="*/ 2190866 h 8541100"/>
              <a:gd name="connsiteX3" fmla="*/ 4572000 w 4572000"/>
              <a:gd name="connsiteY3" fmla="*/ 8531737 h 8541100"/>
              <a:gd name="connsiteX4" fmla="*/ 2246195 w 4572000"/>
              <a:gd name="connsiteY4" fmla="*/ 8541073 h 8541100"/>
              <a:gd name="connsiteX5" fmla="*/ 1718387 w 4572000"/>
              <a:gd name="connsiteY5" fmla="*/ 8531737 h 8541100"/>
              <a:gd name="connsiteX6" fmla="*/ 486384 w 4572000"/>
              <a:gd name="connsiteY6" fmla="*/ 7541635 h 8541100"/>
              <a:gd name="connsiteX7" fmla="*/ 54658 w 4572000"/>
              <a:gd name="connsiteY7" fmla="*/ 5561429 h 8541100"/>
              <a:gd name="connsiteX8" fmla="*/ 1549908 w 4572000"/>
              <a:gd name="connsiteY8" fmla="*/ 0 h 8541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72000" h="8541100">
                <a:moveTo>
                  <a:pt x="1549908" y="0"/>
                </a:moveTo>
                <a:lnTo>
                  <a:pt x="3392647" y="42132"/>
                </a:lnTo>
                <a:cubicBezTo>
                  <a:pt x="3705035" y="84264"/>
                  <a:pt x="4394746" y="196616"/>
                  <a:pt x="4435111" y="2190866"/>
                </a:cubicBezTo>
                <a:lnTo>
                  <a:pt x="4572000" y="8531737"/>
                </a:lnTo>
                <a:cubicBezTo>
                  <a:pt x="4183489" y="8531737"/>
                  <a:pt x="2958835" y="8541695"/>
                  <a:pt x="2246195" y="8541073"/>
                </a:cubicBezTo>
                <a:cubicBezTo>
                  <a:pt x="1922267" y="8540789"/>
                  <a:pt x="1704128" y="8538321"/>
                  <a:pt x="1718387" y="8531737"/>
                </a:cubicBezTo>
                <a:lnTo>
                  <a:pt x="486384" y="7541635"/>
                </a:lnTo>
                <a:cubicBezTo>
                  <a:pt x="258235" y="7264265"/>
                  <a:pt x="-147166" y="6811345"/>
                  <a:pt x="54658" y="5561429"/>
                </a:cubicBezTo>
                <a:cubicBezTo>
                  <a:pt x="109063" y="5385879"/>
                  <a:pt x="1537624" y="63198"/>
                  <a:pt x="1549908" y="0"/>
                </a:cubicBezTo>
                <a:close/>
              </a:path>
            </a:pathLst>
          </a:custGeom>
          <a:pattFill prst="pct90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wrap="square" rtlCol="0">
            <a:noAutofit/>
          </a:bodyPr>
          <a:lstStyle>
            <a:lvl1pPr marL="0" indent="0" algn="r">
              <a:buNone/>
              <a:defRPr sz="700">
                <a:solidFill>
                  <a:sysClr val="windowText" lastClr="000000"/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5647434" y="1891040"/>
            <a:ext cx="5706148" cy="42705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 bwMode="auto">
          <a:xfrm>
            <a:off x="838419" y="580401"/>
            <a:ext cx="10515163" cy="8896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182843" tIns="91422" rIns="182843" bIns="91422" numCol="1" anchor="ctr" anchorCtr="0" compatLnSpc="1">
            <a:prstTxWarp prst="textNoShape">
              <a:avLst/>
            </a:prstTxWarp>
          </a:bodyPr>
          <a:lstStyle>
            <a:lvl1pPr algn="ctr">
              <a:defRPr sz="3800" b="1">
                <a:solidFill>
                  <a:srgbClr val="00AAF0"/>
                </a:solidFill>
              </a:defRPr>
            </a:lvl1pPr>
          </a:lstStyle>
          <a:p>
            <a:pPr lvl="0"/>
            <a:r>
              <a:rPr lang="en-US" altLang="x-none"/>
              <a:t>CLICK TO EDIT MASTER TITLE STYLE</a:t>
            </a:r>
          </a:p>
        </p:txBody>
      </p:sp>
      <p:sp>
        <p:nvSpPr>
          <p:cNvPr id="20" name="Rectangle 19"/>
          <p:cNvSpPr>
            <a:spLocks/>
          </p:cNvSpPr>
          <p:nvPr userDrawn="1"/>
        </p:nvSpPr>
        <p:spPr bwMode="auto">
          <a:xfrm>
            <a:off x="5645162" y="364957"/>
            <a:ext cx="904864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5pPr>
            <a:lvl6pPr marL="25146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6pPr>
            <a:lvl7pPr marL="29718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7pPr>
            <a:lvl8pPr marL="34290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8pPr>
            <a:lvl9pPr marL="38862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9pPr>
          </a:lstStyle>
          <a:p>
            <a:pPr algn="ctr"/>
            <a:r>
              <a:rPr lang="en-US" altLang="x-none" sz="1400" b="1">
                <a:solidFill>
                  <a:schemeClr val="bg1">
                    <a:lumMod val="65000"/>
                  </a:schemeClr>
                </a:solidFill>
                <a:latin typeface="+mn-lt"/>
                <a:sym typeface="Montserrat-Regular" charset="0"/>
              </a:rPr>
              <a:t>PAHO/WHO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5897563" y="1470034"/>
            <a:ext cx="400050" cy="95250"/>
            <a:chOff x="1942594" y="2781300"/>
            <a:chExt cx="799891" cy="190500"/>
          </a:xfrm>
          <a:solidFill>
            <a:schemeClr val="bg1">
              <a:lumMod val="85000"/>
            </a:schemeClr>
          </a:solidFill>
        </p:grpSpPr>
        <p:sp>
          <p:nvSpPr>
            <p:cNvPr id="22" name="Oval 3"/>
            <p:cNvSpPr>
              <a:spLocks/>
            </p:cNvSpPr>
            <p:nvPr/>
          </p:nvSpPr>
          <p:spPr bwMode="auto">
            <a:xfrm>
              <a:off x="1942594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  <p:sp>
          <p:nvSpPr>
            <p:cNvPr id="23" name="Oval 4"/>
            <p:cNvSpPr>
              <a:spLocks/>
            </p:cNvSpPr>
            <p:nvPr/>
          </p:nvSpPr>
          <p:spPr bwMode="auto">
            <a:xfrm>
              <a:off x="2247315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  <p:sp>
          <p:nvSpPr>
            <p:cNvPr id="24" name="Oval 5"/>
            <p:cNvSpPr>
              <a:spLocks/>
            </p:cNvSpPr>
            <p:nvPr/>
          </p:nvSpPr>
          <p:spPr bwMode="auto">
            <a:xfrm>
              <a:off x="2552035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</p:grpSp>
      <p:sp>
        <p:nvSpPr>
          <p:cNvPr id="13" name="Picture Placeholder 12"/>
          <p:cNvSpPr>
            <a:spLocks noGrp="1"/>
          </p:cNvSpPr>
          <p:nvPr>
            <p:ph type="pic" sz="quarter" idx="16"/>
          </p:nvPr>
        </p:nvSpPr>
        <p:spPr bwMode="auto">
          <a:xfrm>
            <a:off x="987276" y="1891040"/>
            <a:ext cx="2422559" cy="4270551"/>
          </a:xfrm>
          <a:custGeom>
            <a:avLst/>
            <a:gdLst>
              <a:gd name="connsiteX0" fmla="*/ 2325805 w 4572000"/>
              <a:gd name="connsiteY0" fmla="*/ 17 h 5149145"/>
              <a:gd name="connsiteX1" fmla="*/ 2853613 w 4572000"/>
              <a:gd name="connsiteY1" fmla="*/ 5645 h 5149145"/>
              <a:gd name="connsiteX2" fmla="*/ 4085616 w 4572000"/>
              <a:gd name="connsiteY2" fmla="*/ 602545 h 5149145"/>
              <a:gd name="connsiteX3" fmla="*/ 4517342 w 4572000"/>
              <a:gd name="connsiteY3" fmla="*/ 1796345 h 5149145"/>
              <a:gd name="connsiteX4" fmla="*/ 3022092 w 4572000"/>
              <a:gd name="connsiteY4" fmla="*/ 5149145 h 5149145"/>
              <a:gd name="connsiteX5" fmla="*/ 1179353 w 4572000"/>
              <a:gd name="connsiteY5" fmla="*/ 5123745 h 5149145"/>
              <a:gd name="connsiteX6" fmla="*/ 136889 w 4572000"/>
              <a:gd name="connsiteY6" fmla="*/ 3828345 h 5149145"/>
              <a:gd name="connsiteX7" fmla="*/ 0 w 4572000"/>
              <a:gd name="connsiteY7" fmla="*/ 5645 h 5149145"/>
              <a:gd name="connsiteX8" fmla="*/ 2325805 w 4572000"/>
              <a:gd name="connsiteY8" fmla="*/ 17 h 51491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72000" h="5149145">
                <a:moveTo>
                  <a:pt x="2325805" y="17"/>
                </a:moveTo>
                <a:cubicBezTo>
                  <a:pt x="2649733" y="188"/>
                  <a:pt x="2867872" y="1676"/>
                  <a:pt x="2853613" y="5645"/>
                </a:cubicBezTo>
                <a:lnTo>
                  <a:pt x="4085616" y="602545"/>
                </a:lnTo>
                <a:cubicBezTo>
                  <a:pt x="4313765" y="769762"/>
                  <a:pt x="4719166" y="1042812"/>
                  <a:pt x="4517342" y="1796345"/>
                </a:cubicBezTo>
                <a:cubicBezTo>
                  <a:pt x="4462937" y="1902178"/>
                  <a:pt x="3034376" y="5111045"/>
                  <a:pt x="3022092" y="5149145"/>
                </a:cubicBezTo>
                <a:lnTo>
                  <a:pt x="1179353" y="5123745"/>
                </a:lnTo>
                <a:cubicBezTo>
                  <a:pt x="866965" y="5098345"/>
                  <a:pt x="177254" y="5030612"/>
                  <a:pt x="136889" y="3828345"/>
                </a:cubicBezTo>
                <a:lnTo>
                  <a:pt x="0" y="5645"/>
                </a:lnTo>
                <a:cubicBezTo>
                  <a:pt x="388511" y="5645"/>
                  <a:pt x="1613165" y="-358"/>
                  <a:pt x="2325805" y="17"/>
                </a:cubicBezTo>
                <a:close/>
              </a:path>
            </a:pathLst>
          </a:custGeom>
          <a:pattFill prst="pct90">
            <a:fgClr>
              <a:schemeClr val="bg1">
                <a:lumMod val="85000"/>
              </a:schemeClr>
            </a:fgClr>
            <a:bgClr>
              <a:schemeClr val="bg1"/>
            </a:bgClr>
          </a:pattFill>
          <a:ln>
            <a:noFill/>
          </a:ln>
        </p:spPr>
        <p:txBody>
          <a:bodyPr wrap="square">
            <a:noAutofit/>
          </a:bodyPr>
          <a:lstStyle>
            <a:lvl1pPr marL="0" indent="0">
              <a:buNone/>
              <a:defRPr sz="450"/>
            </a:lvl1pPr>
          </a:lstStyle>
          <a:p>
            <a:r>
              <a:rPr lang="en-US"/>
              <a:t>Drag picture to placeholder or click icon to add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155218" y="6407635"/>
            <a:ext cx="1621441" cy="262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1948310"/>
      </p:ext>
    </p:extLst>
  </p:cSld>
  <p:clrMapOvr>
    <a:masterClrMapping/>
  </p:clrMapOvr>
  <p:transition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4"/>
          </p:nvPr>
        </p:nvSpPr>
        <p:spPr bwMode="auto">
          <a:xfrm>
            <a:off x="0" y="-2823"/>
            <a:ext cx="12045979" cy="6860823"/>
          </a:xfrm>
          <a:custGeom>
            <a:avLst/>
            <a:gdLst>
              <a:gd name="connsiteX0" fmla="*/ 2325805 w 4572000"/>
              <a:gd name="connsiteY0" fmla="*/ 17 h 5149145"/>
              <a:gd name="connsiteX1" fmla="*/ 2853613 w 4572000"/>
              <a:gd name="connsiteY1" fmla="*/ 5645 h 5149145"/>
              <a:gd name="connsiteX2" fmla="*/ 4085616 w 4572000"/>
              <a:gd name="connsiteY2" fmla="*/ 602545 h 5149145"/>
              <a:gd name="connsiteX3" fmla="*/ 4517342 w 4572000"/>
              <a:gd name="connsiteY3" fmla="*/ 1796345 h 5149145"/>
              <a:gd name="connsiteX4" fmla="*/ 3022092 w 4572000"/>
              <a:gd name="connsiteY4" fmla="*/ 5149145 h 5149145"/>
              <a:gd name="connsiteX5" fmla="*/ 1179353 w 4572000"/>
              <a:gd name="connsiteY5" fmla="*/ 5123745 h 5149145"/>
              <a:gd name="connsiteX6" fmla="*/ 136889 w 4572000"/>
              <a:gd name="connsiteY6" fmla="*/ 3828345 h 5149145"/>
              <a:gd name="connsiteX7" fmla="*/ 0 w 4572000"/>
              <a:gd name="connsiteY7" fmla="*/ 5645 h 5149145"/>
              <a:gd name="connsiteX8" fmla="*/ 2325805 w 4572000"/>
              <a:gd name="connsiteY8" fmla="*/ 17 h 51491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72000" h="5149145">
                <a:moveTo>
                  <a:pt x="2325805" y="17"/>
                </a:moveTo>
                <a:cubicBezTo>
                  <a:pt x="2649733" y="188"/>
                  <a:pt x="2867872" y="1676"/>
                  <a:pt x="2853613" y="5645"/>
                </a:cubicBezTo>
                <a:lnTo>
                  <a:pt x="4085616" y="602545"/>
                </a:lnTo>
                <a:cubicBezTo>
                  <a:pt x="4313765" y="769762"/>
                  <a:pt x="4719166" y="1042812"/>
                  <a:pt x="4517342" y="1796345"/>
                </a:cubicBezTo>
                <a:cubicBezTo>
                  <a:pt x="4462937" y="1902178"/>
                  <a:pt x="3034376" y="5111045"/>
                  <a:pt x="3022092" y="5149145"/>
                </a:cubicBezTo>
                <a:lnTo>
                  <a:pt x="1179353" y="5123745"/>
                </a:lnTo>
                <a:cubicBezTo>
                  <a:pt x="866965" y="5098345"/>
                  <a:pt x="177254" y="5030612"/>
                  <a:pt x="136889" y="3828345"/>
                </a:cubicBezTo>
                <a:lnTo>
                  <a:pt x="0" y="5645"/>
                </a:lnTo>
                <a:cubicBezTo>
                  <a:pt x="388511" y="5645"/>
                  <a:pt x="1613165" y="-358"/>
                  <a:pt x="2325805" y="17"/>
                </a:cubicBezTo>
                <a:close/>
              </a:path>
            </a:pathLst>
          </a:custGeom>
          <a:pattFill prst="pct90">
            <a:fgClr>
              <a:schemeClr val="bg1">
                <a:lumMod val="85000"/>
              </a:schemeClr>
            </a:fgClr>
            <a:bgClr>
              <a:schemeClr val="bg1"/>
            </a:bgClr>
          </a:pattFill>
          <a:ln>
            <a:noFill/>
          </a:ln>
        </p:spPr>
        <p:txBody>
          <a:bodyPr wrap="square">
            <a:noAutofit/>
          </a:bodyPr>
          <a:lstStyle>
            <a:lvl1pPr marL="0" indent="0">
              <a:buNone/>
              <a:defRPr sz="450"/>
            </a:lvl1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0" hasCustomPrompt="1"/>
          </p:nvPr>
        </p:nvSpPr>
        <p:spPr>
          <a:xfrm>
            <a:off x="856027" y="1873405"/>
            <a:ext cx="5151219" cy="4248614"/>
          </a:xfrm>
        </p:spPr>
        <p:txBody>
          <a:bodyPr/>
          <a:lstStyle>
            <a:lvl1pPr marL="0" indent="0">
              <a:buNone/>
              <a:defRPr sz="4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bg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bg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bg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155218" y="6407635"/>
            <a:ext cx="1621441" cy="262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7692621"/>
      </p:ext>
    </p:extLst>
  </p:cSld>
  <p:clrMapOvr>
    <a:masterClrMapping/>
  </p:clrMapOvr>
  <p:transition spd="slow"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Image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8"/>
          <p:cNvSpPr>
            <a:spLocks noGrp="1"/>
          </p:cNvSpPr>
          <p:nvPr>
            <p:ph type="pic" sz="quarter" idx="13"/>
          </p:nvPr>
        </p:nvSpPr>
        <p:spPr bwMode="auto">
          <a:xfrm>
            <a:off x="0" y="0"/>
            <a:ext cx="10071908" cy="6858000"/>
          </a:xfrm>
          <a:custGeom>
            <a:avLst/>
            <a:gdLst>
              <a:gd name="connsiteX0" fmla="*/ 0 w 2044700"/>
              <a:gd name="connsiteY0" fmla="*/ 0 h 5143500"/>
              <a:gd name="connsiteX1" fmla="*/ 2044700 w 2044700"/>
              <a:gd name="connsiteY1" fmla="*/ 0 h 5143500"/>
              <a:gd name="connsiteX2" fmla="*/ 2044700 w 2044700"/>
              <a:gd name="connsiteY2" fmla="*/ 5143500 h 5143500"/>
              <a:gd name="connsiteX3" fmla="*/ 0 w 2044700"/>
              <a:gd name="connsiteY3" fmla="*/ 5143500 h 5143500"/>
              <a:gd name="connsiteX4" fmla="*/ 0 w 2044700"/>
              <a:gd name="connsiteY4" fmla="*/ 0 h 5143500"/>
              <a:gd name="connsiteX0" fmla="*/ 0 w 2044700"/>
              <a:gd name="connsiteY0" fmla="*/ 0 h 5143500"/>
              <a:gd name="connsiteX1" fmla="*/ 2044700 w 2044700"/>
              <a:gd name="connsiteY1" fmla="*/ 0 h 5143500"/>
              <a:gd name="connsiteX2" fmla="*/ 2032000 w 2044700"/>
              <a:gd name="connsiteY2" fmla="*/ 1143000 h 5143500"/>
              <a:gd name="connsiteX3" fmla="*/ 2044700 w 2044700"/>
              <a:gd name="connsiteY3" fmla="*/ 5143500 h 5143500"/>
              <a:gd name="connsiteX4" fmla="*/ 0 w 2044700"/>
              <a:gd name="connsiteY4" fmla="*/ 5143500 h 5143500"/>
              <a:gd name="connsiteX5" fmla="*/ 0 w 2044700"/>
              <a:gd name="connsiteY5" fmla="*/ 0 h 5143500"/>
              <a:gd name="connsiteX0" fmla="*/ 0 w 3479809"/>
              <a:gd name="connsiteY0" fmla="*/ 12700 h 5156200"/>
              <a:gd name="connsiteX1" fmla="*/ 2044700 w 3479809"/>
              <a:gd name="connsiteY1" fmla="*/ 12700 h 5156200"/>
              <a:gd name="connsiteX2" fmla="*/ 3479800 w 3479809"/>
              <a:gd name="connsiteY2" fmla="*/ 0 h 5156200"/>
              <a:gd name="connsiteX3" fmla="*/ 2044700 w 3479809"/>
              <a:gd name="connsiteY3" fmla="*/ 5156200 h 5156200"/>
              <a:gd name="connsiteX4" fmla="*/ 0 w 3479809"/>
              <a:gd name="connsiteY4" fmla="*/ 5156200 h 5156200"/>
              <a:gd name="connsiteX5" fmla="*/ 0 w 3479809"/>
              <a:gd name="connsiteY5" fmla="*/ 12700 h 5156200"/>
              <a:gd name="connsiteX0" fmla="*/ 0 w 3484485"/>
              <a:gd name="connsiteY0" fmla="*/ 12700 h 5156200"/>
              <a:gd name="connsiteX1" fmla="*/ 2044700 w 3484485"/>
              <a:gd name="connsiteY1" fmla="*/ 12700 h 5156200"/>
              <a:gd name="connsiteX2" fmla="*/ 3479800 w 3484485"/>
              <a:gd name="connsiteY2" fmla="*/ 0 h 5156200"/>
              <a:gd name="connsiteX3" fmla="*/ 2489200 w 3484485"/>
              <a:gd name="connsiteY3" fmla="*/ 3251200 h 5156200"/>
              <a:gd name="connsiteX4" fmla="*/ 2044700 w 3484485"/>
              <a:gd name="connsiteY4" fmla="*/ 5156200 h 5156200"/>
              <a:gd name="connsiteX5" fmla="*/ 0 w 3484485"/>
              <a:gd name="connsiteY5" fmla="*/ 5156200 h 5156200"/>
              <a:gd name="connsiteX6" fmla="*/ 0 w 3484485"/>
              <a:gd name="connsiteY6" fmla="*/ 12700 h 5156200"/>
              <a:gd name="connsiteX0" fmla="*/ 0 w 3519784"/>
              <a:gd name="connsiteY0" fmla="*/ 12700 h 5156200"/>
              <a:gd name="connsiteX1" fmla="*/ 2044700 w 3519784"/>
              <a:gd name="connsiteY1" fmla="*/ 12700 h 5156200"/>
              <a:gd name="connsiteX2" fmla="*/ 3479800 w 3519784"/>
              <a:gd name="connsiteY2" fmla="*/ 0 h 5156200"/>
              <a:gd name="connsiteX3" fmla="*/ 3302000 w 3519784"/>
              <a:gd name="connsiteY3" fmla="*/ 3860800 h 5156200"/>
              <a:gd name="connsiteX4" fmla="*/ 2044700 w 3519784"/>
              <a:gd name="connsiteY4" fmla="*/ 5156200 h 5156200"/>
              <a:gd name="connsiteX5" fmla="*/ 0 w 3519784"/>
              <a:gd name="connsiteY5" fmla="*/ 5156200 h 5156200"/>
              <a:gd name="connsiteX6" fmla="*/ 0 w 3519784"/>
              <a:gd name="connsiteY6" fmla="*/ 12700 h 5156200"/>
              <a:gd name="connsiteX0" fmla="*/ 0 w 3493347"/>
              <a:gd name="connsiteY0" fmla="*/ 12700 h 5156200"/>
              <a:gd name="connsiteX1" fmla="*/ 2044700 w 3493347"/>
              <a:gd name="connsiteY1" fmla="*/ 12700 h 5156200"/>
              <a:gd name="connsiteX2" fmla="*/ 3479800 w 3493347"/>
              <a:gd name="connsiteY2" fmla="*/ 0 h 5156200"/>
              <a:gd name="connsiteX3" fmla="*/ 3302000 w 3493347"/>
              <a:gd name="connsiteY3" fmla="*/ 3860800 h 5156200"/>
              <a:gd name="connsiteX4" fmla="*/ 2044700 w 3493347"/>
              <a:gd name="connsiteY4" fmla="*/ 5156200 h 5156200"/>
              <a:gd name="connsiteX5" fmla="*/ 0 w 3493347"/>
              <a:gd name="connsiteY5" fmla="*/ 5156200 h 5156200"/>
              <a:gd name="connsiteX6" fmla="*/ 0 w 3493347"/>
              <a:gd name="connsiteY6" fmla="*/ 12700 h 5156200"/>
              <a:gd name="connsiteX0" fmla="*/ 0 w 3479800"/>
              <a:gd name="connsiteY0" fmla="*/ 12770 h 5156270"/>
              <a:gd name="connsiteX1" fmla="*/ 2044700 w 3479800"/>
              <a:gd name="connsiteY1" fmla="*/ 12770 h 5156270"/>
              <a:gd name="connsiteX2" fmla="*/ 3479800 w 3479800"/>
              <a:gd name="connsiteY2" fmla="*/ 70 h 5156270"/>
              <a:gd name="connsiteX3" fmla="*/ 3302000 w 3479800"/>
              <a:gd name="connsiteY3" fmla="*/ 3860870 h 5156270"/>
              <a:gd name="connsiteX4" fmla="*/ 2044700 w 3479800"/>
              <a:gd name="connsiteY4" fmla="*/ 5156270 h 5156270"/>
              <a:gd name="connsiteX5" fmla="*/ 0 w 3479800"/>
              <a:gd name="connsiteY5" fmla="*/ 5156270 h 5156270"/>
              <a:gd name="connsiteX6" fmla="*/ 0 w 3479800"/>
              <a:gd name="connsiteY6" fmla="*/ 12770 h 5156270"/>
              <a:gd name="connsiteX0" fmla="*/ 0 w 3479800"/>
              <a:gd name="connsiteY0" fmla="*/ 12770 h 5156270"/>
              <a:gd name="connsiteX1" fmla="*/ 2044700 w 3479800"/>
              <a:gd name="connsiteY1" fmla="*/ 12770 h 5156270"/>
              <a:gd name="connsiteX2" fmla="*/ 3479800 w 3479800"/>
              <a:gd name="connsiteY2" fmla="*/ 70 h 5156270"/>
              <a:gd name="connsiteX3" fmla="*/ 3302000 w 3479800"/>
              <a:gd name="connsiteY3" fmla="*/ 3860870 h 5156270"/>
              <a:gd name="connsiteX4" fmla="*/ 2044700 w 3479800"/>
              <a:gd name="connsiteY4" fmla="*/ 5156270 h 5156270"/>
              <a:gd name="connsiteX5" fmla="*/ 0 w 3479800"/>
              <a:gd name="connsiteY5" fmla="*/ 5156270 h 5156270"/>
              <a:gd name="connsiteX6" fmla="*/ 0 w 3479800"/>
              <a:gd name="connsiteY6" fmla="*/ 12770 h 5156270"/>
              <a:gd name="connsiteX0" fmla="*/ 1556 w 3481356"/>
              <a:gd name="connsiteY0" fmla="*/ 12770 h 5156270"/>
              <a:gd name="connsiteX1" fmla="*/ 2046256 w 3481356"/>
              <a:gd name="connsiteY1" fmla="*/ 12770 h 5156270"/>
              <a:gd name="connsiteX2" fmla="*/ 3481356 w 3481356"/>
              <a:gd name="connsiteY2" fmla="*/ 70 h 5156270"/>
              <a:gd name="connsiteX3" fmla="*/ 3303556 w 3481356"/>
              <a:gd name="connsiteY3" fmla="*/ 3860870 h 5156270"/>
              <a:gd name="connsiteX4" fmla="*/ 2046256 w 3481356"/>
              <a:gd name="connsiteY4" fmla="*/ 5156270 h 5156270"/>
              <a:gd name="connsiteX5" fmla="*/ 1556 w 3481356"/>
              <a:gd name="connsiteY5" fmla="*/ 5156270 h 5156270"/>
              <a:gd name="connsiteX6" fmla="*/ 1556 w 3481356"/>
              <a:gd name="connsiteY6" fmla="*/ 12770 h 5156270"/>
              <a:gd name="connsiteX0" fmla="*/ 25400 w 3479800"/>
              <a:gd name="connsiteY0" fmla="*/ 38170 h 5156270"/>
              <a:gd name="connsiteX1" fmla="*/ 2044700 w 3479800"/>
              <a:gd name="connsiteY1" fmla="*/ 12770 h 5156270"/>
              <a:gd name="connsiteX2" fmla="*/ 3479800 w 3479800"/>
              <a:gd name="connsiteY2" fmla="*/ 70 h 5156270"/>
              <a:gd name="connsiteX3" fmla="*/ 3302000 w 3479800"/>
              <a:gd name="connsiteY3" fmla="*/ 3860870 h 5156270"/>
              <a:gd name="connsiteX4" fmla="*/ 2044700 w 3479800"/>
              <a:gd name="connsiteY4" fmla="*/ 5156270 h 5156270"/>
              <a:gd name="connsiteX5" fmla="*/ 0 w 3479800"/>
              <a:gd name="connsiteY5" fmla="*/ 5156270 h 5156270"/>
              <a:gd name="connsiteX6" fmla="*/ 25400 w 3479800"/>
              <a:gd name="connsiteY6" fmla="*/ 38170 h 5156270"/>
              <a:gd name="connsiteX0" fmla="*/ 25400 w 3302000"/>
              <a:gd name="connsiteY0" fmla="*/ 25400 h 5143500"/>
              <a:gd name="connsiteX1" fmla="*/ 2044700 w 3302000"/>
              <a:gd name="connsiteY1" fmla="*/ 0 h 5143500"/>
              <a:gd name="connsiteX2" fmla="*/ 2590800 w 3302000"/>
              <a:gd name="connsiteY2" fmla="*/ 1460500 h 5143500"/>
              <a:gd name="connsiteX3" fmla="*/ 3302000 w 3302000"/>
              <a:gd name="connsiteY3" fmla="*/ 3848100 h 5143500"/>
              <a:gd name="connsiteX4" fmla="*/ 2044700 w 3302000"/>
              <a:gd name="connsiteY4" fmla="*/ 5143500 h 5143500"/>
              <a:gd name="connsiteX5" fmla="*/ 0 w 3302000"/>
              <a:gd name="connsiteY5" fmla="*/ 5143500 h 5143500"/>
              <a:gd name="connsiteX6" fmla="*/ 25400 w 3302000"/>
              <a:gd name="connsiteY6" fmla="*/ 25400 h 5143500"/>
              <a:gd name="connsiteX0" fmla="*/ 25400 w 3302000"/>
              <a:gd name="connsiteY0" fmla="*/ 137 h 5118237"/>
              <a:gd name="connsiteX1" fmla="*/ 1828800 w 3302000"/>
              <a:gd name="connsiteY1" fmla="*/ 863737 h 5118237"/>
              <a:gd name="connsiteX2" fmla="*/ 2590800 w 3302000"/>
              <a:gd name="connsiteY2" fmla="*/ 1435237 h 5118237"/>
              <a:gd name="connsiteX3" fmla="*/ 3302000 w 3302000"/>
              <a:gd name="connsiteY3" fmla="*/ 3822837 h 5118237"/>
              <a:gd name="connsiteX4" fmla="*/ 2044700 w 3302000"/>
              <a:gd name="connsiteY4" fmla="*/ 5118237 h 5118237"/>
              <a:gd name="connsiteX5" fmla="*/ 0 w 3302000"/>
              <a:gd name="connsiteY5" fmla="*/ 5118237 h 5118237"/>
              <a:gd name="connsiteX6" fmla="*/ 25400 w 3302000"/>
              <a:gd name="connsiteY6" fmla="*/ 137 h 5118237"/>
              <a:gd name="connsiteX0" fmla="*/ 25400 w 3467100"/>
              <a:gd name="connsiteY0" fmla="*/ 12700 h 5130800"/>
              <a:gd name="connsiteX1" fmla="*/ 3467100 w 3467100"/>
              <a:gd name="connsiteY1" fmla="*/ 0 h 5130800"/>
              <a:gd name="connsiteX2" fmla="*/ 2590800 w 3467100"/>
              <a:gd name="connsiteY2" fmla="*/ 1447800 h 5130800"/>
              <a:gd name="connsiteX3" fmla="*/ 3302000 w 3467100"/>
              <a:gd name="connsiteY3" fmla="*/ 3835400 h 5130800"/>
              <a:gd name="connsiteX4" fmla="*/ 2044700 w 3467100"/>
              <a:gd name="connsiteY4" fmla="*/ 5130800 h 5130800"/>
              <a:gd name="connsiteX5" fmla="*/ 0 w 3467100"/>
              <a:gd name="connsiteY5" fmla="*/ 5130800 h 5130800"/>
              <a:gd name="connsiteX6" fmla="*/ 25400 w 3467100"/>
              <a:gd name="connsiteY6" fmla="*/ 12700 h 5130800"/>
              <a:gd name="connsiteX0" fmla="*/ 25400 w 3467100"/>
              <a:gd name="connsiteY0" fmla="*/ 12700 h 5130800"/>
              <a:gd name="connsiteX1" fmla="*/ 3467100 w 3467100"/>
              <a:gd name="connsiteY1" fmla="*/ 0 h 5130800"/>
              <a:gd name="connsiteX2" fmla="*/ 3302000 w 3467100"/>
              <a:gd name="connsiteY2" fmla="*/ 3835400 h 5130800"/>
              <a:gd name="connsiteX3" fmla="*/ 2044700 w 3467100"/>
              <a:gd name="connsiteY3" fmla="*/ 5130800 h 5130800"/>
              <a:gd name="connsiteX4" fmla="*/ 0 w 3467100"/>
              <a:gd name="connsiteY4" fmla="*/ 5130800 h 5130800"/>
              <a:gd name="connsiteX5" fmla="*/ 25400 w 3467100"/>
              <a:gd name="connsiteY5" fmla="*/ 12700 h 5130800"/>
              <a:gd name="connsiteX0" fmla="*/ 25400 w 3467100"/>
              <a:gd name="connsiteY0" fmla="*/ 5645 h 5123745"/>
              <a:gd name="connsiteX1" fmla="*/ 3467100 w 3467100"/>
              <a:gd name="connsiteY1" fmla="*/ 5645 h 5123745"/>
              <a:gd name="connsiteX2" fmla="*/ 3302000 w 3467100"/>
              <a:gd name="connsiteY2" fmla="*/ 3828345 h 5123745"/>
              <a:gd name="connsiteX3" fmla="*/ 2044700 w 3467100"/>
              <a:gd name="connsiteY3" fmla="*/ 5123745 h 5123745"/>
              <a:gd name="connsiteX4" fmla="*/ 0 w 3467100"/>
              <a:gd name="connsiteY4" fmla="*/ 5123745 h 5123745"/>
              <a:gd name="connsiteX5" fmla="*/ 25400 w 3467100"/>
              <a:gd name="connsiteY5" fmla="*/ 5645 h 5123745"/>
              <a:gd name="connsiteX0" fmla="*/ 25400 w 3467100"/>
              <a:gd name="connsiteY0" fmla="*/ 5645 h 5123745"/>
              <a:gd name="connsiteX1" fmla="*/ 3467100 w 3467100"/>
              <a:gd name="connsiteY1" fmla="*/ 5645 h 5123745"/>
              <a:gd name="connsiteX2" fmla="*/ 3302000 w 3467100"/>
              <a:gd name="connsiteY2" fmla="*/ 3828345 h 5123745"/>
              <a:gd name="connsiteX3" fmla="*/ 2044700 w 3467100"/>
              <a:gd name="connsiteY3" fmla="*/ 5123745 h 5123745"/>
              <a:gd name="connsiteX4" fmla="*/ 0 w 3467100"/>
              <a:gd name="connsiteY4" fmla="*/ 5123745 h 5123745"/>
              <a:gd name="connsiteX5" fmla="*/ 25400 w 3467100"/>
              <a:gd name="connsiteY5" fmla="*/ 5645 h 5123745"/>
              <a:gd name="connsiteX0" fmla="*/ 25400 w 3467100"/>
              <a:gd name="connsiteY0" fmla="*/ 5645 h 5123745"/>
              <a:gd name="connsiteX1" fmla="*/ 3467100 w 3467100"/>
              <a:gd name="connsiteY1" fmla="*/ 5645 h 5123745"/>
              <a:gd name="connsiteX2" fmla="*/ 3302000 w 3467100"/>
              <a:gd name="connsiteY2" fmla="*/ 3828345 h 5123745"/>
              <a:gd name="connsiteX3" fmla="*/ 2044700 w 3467100"/>
              <a:gd name="connsiteY3" fmla="*/ 5123745 h 5123745"/>
              <a:gd name="connsiteX4" fmla="*/ 0 w 3467100"/>
              <a:gd name="connsiteY4" fmla="*/ 5123745 h 5123745"/>
              <a:gd name="connsiteX5" fmla="*/ 25400 w 3467100"/>
              <a:gd name="connsiteY5" fmla="*/ 5645 h 5123745"/>
              <a:gd name="connsiteX0" fmla="*/ 25400 w 3467100"/>
              <a:gd name="connsiteY0" fmla="*/ 5645 h 5123745"/>
              <a:gd name="connsiteX1" fmla="*/ 3467100 w 3467100"/>
              <a:gd name="connsiteY1" fmla="*/ 5645 h 5123745"/>
              <a:gd name="connsiteX2" fmla="*/ 3302000 w 3467100"/>
              <a:gd name="connsiteY2" fmla="*/ 3828345 h 5123745"/>
              <a:gd name="connsiteX3" fmla="*/ 2044700 w 3467100"/>
              <a:gd name="connsiteY3" fmla="*/ 5123745 h 5123745"/>
              <a:gd name="connsiteX4" fmla="*/ 0 w 3467100"/>
              <a:gd name="connsiteY4" fmla="*/ 5123745 h 5123745"/>
              <a:gd name="connsiteX5" fmla="*/ 12700 w 3467100"/>
              <a:gd name="connsiteY5" fmla="*/ 1135945 h 5123745"/>
              <a:gd name="connsiteX6" fmla="*/ 25400 w 3467100"/>
              <a:gd name="connsiteY6" fmla="*/ 5645 h 5123745"/>
              <a:gd name="connsiteX0" fmla="*/ 1485909 w 4927609"/>
              <a:gd name="connsiteY0" fmla="*/ 5645 h 5123745"/>
              <a:gd name="connsiteX1" fmla="*/ 4927609 w 4927609"/>
              <a:gd name="connsiteY1" fmla="*/ 5645 h 5123745"/>
              <a:gd name="connsiteX2" fmla="*/ 4762509 w 4927609"/>
              <a:gd name="connsiteY2" fmla="*/ 3828345 h 5123745"/>
              <a:gd name="connsiteX3" fmla="*/ 3505209 w 4927609"/>
              <a:gd name="connsiteY3" fmla="*/ 5123745 h 5123745"/>
              <a:gd name="connsiteX4" fmla="*/ 1460509 w 4927609"/>
              <a:gd name="connsiteY4" fmla="*/ 5123745 h 5123745"/>
              <a:gd name="connsiteX5" fmla="*/ 9 w 4927609"/>
              <a:gd name="connsiteY5" fmla="*/ 602545 h 5123745"/>
              <a:gd name="connsiteX6" fmla="*/ 1485909 w 4927609"/>
              <a:gd name="connsiteY6" fmla="*/ 5645 h 5123745"/>
              <a:gd name="connsiteX0" fmla="*/ 1512775 w 4954475"/>
              <a:gd name="connsiteY0" fmla="*/ 5645 h 5123745"/>
              <a:gd name="connsiteX1" fmla="*/ 4954475 w 4954475"/>
              <a:gd name="connsiteY1" fmla="*/ 5645 h 5123745"/>
              <a:gd name="connsiteX2" fmla="*/ 4789375 w 4954475"/>
              <a:gd name="connsiteY2" fmla="*/ 3828345 h 5123745"/>
              <a:gd name="connsiteX3" fmla="*/ 3532075 w 4954475"/>
              <a:gd name="connsiteY3" fmla="*/ 5123745 h 5123745"/>
              <a:gd name="connsiteX4" fmla="*/ 1487375 w 4954475"/>
              <a:gd name="connsiteY4" fmla="*/ 5123745 h 5123745"/>
              <a:gd name="connsiteX5" fmla="*/ 623776 w 4954475"/>
              <a:gd name="connsiteY5" fmla="*/ 2532945 h 5123745"/>
              <a:gd name="connsiteX6" fmla="*/ 26875 w 4954475"/>
              <a:gd name="connsiteY6" fmla="*/ 602545 h 5123745"/>
              <a:gd name="connsiteX7" fmla="*/ 1512775 w 4954475"/>
              <a:gd name="connsiteY7" fmla="*/ 5645 h 5123745"/>
              <a:gd name="connsiteX0" fmla="*/ 2062882 w 5504582"/>
              <a:gd name="connsiteY0" fmla="*/ 5645 h 5123745"/>
              <a:gd name="connsiteX1" fmla="*/ 5504582 w 5504582"/>
              <a:gd name="connsiteY1" fmla="*/ 5645 h 5123745"/>
              <a:gd name="connsiteX2" fmla="*/ 5339482 w 5504582"/>
              <a:gd name="connsiteY2" fmla="*/ 3828345 h 5123745"/>
              <a:gd name="connsiteX3" fmla="*/ 4082182 w 5504582"/>
              <a:gd name="connsiteY3" fmla="*/ 5123745 h 5123745"/>
              <a:gd name="connsiteX4" fmla="*/ 2037482 w 5504582"/>
              <a:gd name="connsiteY4" fmla="*/ 5123745 h 5123745"/>
              <a:gd name="connsiteX5" fmla="*/ 56283 w 5504582"/>
              <a:gd name="connsiteY5" fmla="*/ 1796345 h 5123745"/>
              <a:gd name="connsiteX6" fmla="*/ 576982 w 5504582"/>
              <a:gd name="connsiteY6" fmla="*/ 602545 h 5123745"/>
              <a:gd name="connsiteX7" fmla="*/ 2062882 w 5504582"/>
              <a:gd name="connsiteY7" fmla="*/ 5645 h 5123745"/>
              <a:gd name="connsiteX0" fmla="*/ 2072521 w 5514221"/>
              <a:gd name="connsiteY0" fmla="*/ 5645 h 5123745"/>
              <a:gd name="connsiteX1" fmla="*/ 5514221 w 5514221"/>
              <a:gd name="connsiteY1" fmla="*/ 5645 h 5123745"/>
              <a:gd name="connsiteX2" fmla="*/ 5349121 w 5514221"/>
              <a:gd name="connsiteY2" fmla="*/ 3828345 h 5123745"/>
              <a:gd name="connsiteX3" fmla="*/ 4091821 w 5514221"/>
              <a:gd name="connsiteY3" fmla="*/ 5123745 h 5123745"/>
              <a:gd name="connsiteX4" fmla="*/ 2047121 w 5514221"/>
              <a:gd name="connsiteY4" fmla="*/ 5123745 h 5123745"/>
              <a:gd name="connsiteX5" fmla="*/ 65922 w 5514221"/>
              <a:gd name="connsiteY5" fmla="*/ 1796345 h 5123745"/>
              <a:gd name="connsiteX6" fmla="*/ 586621 w 5514221"/>
              <a:gd name="connsiteY6" fmla="*/ 602545 h 5123745"/>
              <a:gd name="connsiteX7" fmla="*/ 2072521 w 5514221"/>
              <a:gd name="connsiteY7" fmla="*/ 5645 h 5123745"/>
              <a:gd name="connsiteX0" fmla="*/ 2072521 w 5514221"/>
              <a:gd name="connsiteY0" fmla="*/ 5645 h 5123745"/>
              <a:gd name="connsiteX1" fmla="*/ 5514221 w 5514221"/>
              <a:gd name="connsiteY1" fmla="*/ 5645 h 5123745"/>
              <a:gd name="connsiteX2" fmla="*/ 5349121 w 5514221"/>
              <a:gd name="connsiteY2" fmla="*/ 3828345 h 5123745"/>
              <a:gd name="connsiteX3" fmla="*/ 4091821 w 5514221"/>
              <a:gd name="connsiteY3" fmla="*/ 5123745 h 5123745"/>
              <a:gd name="connsiteX4" fmla="*/ 2047121 w 5514221"/>
              <a:gd name="connsiteY4" fmla="*/ 5123745 h 5123745"/>
              <a:gd name="connsiteX5" fmla="*/ 65922 w 5514221"/>
              <a:gd name="connsiteY5" fmla="*/ 1796345 h 5123745"/>
              <a:gd name="connsiteX6" fmla="*/ 586621 w 5514221"/>
              <a:gd name="connsiteY6" fmla="*/ 602545 h 5123745"/>
              <a:gd name="connsiteX7" fmla="*/ 2072521 w 5514221"/>
              <a:gd name="connsiteY7" fmla="*/ 5645 h 5123745"/>
              <a:gd name="connsiteX0" fmla="*/ 2072521 w 5514221"/>
              <a:gd name="connsiteY0" fmla="*/ 5645 h 5149145"/>
              <a:gd name="connsiteX1" fmla="*/ 5514221 w 5514221"/>
              <a:gd name="connsiteY1" fmla="*/ 5645 h 5149145"/>
              <a:gd name="connsiteX2" fmla="*/ 5349121 w 5514221"/>
              <a:gd name="connsiteY2" fmla="*/ 3828345 h 5149145"/>
              <a:gd name="connsiteX3" fmla="*/ 4091821 w 5514221"/>
              <a:gd name="connsiteY3" fmla="*/ 5123745 h 5149145"/>
              <a:gd name="connsiteX4" fmla="*/ 1869321 w 5514221"/>
              <a:gd name="connsiteY4" fmla="*/ 5149145 h 5149145"/>
              <a:gd name="connsiteX5" fmla="*/ 65922 w 5514221"/>
              <a:gd name="connsiteY5" fmla="*/ 1796345 h 5149145"/>
              <a:gd name="connsiteX6" fmla="*/ 586621 w 5514221"/>
              <a:gd name="connsiteY6" fmla="*/ 602545 h 5149145"/>
              <a:gd name="connsiteX7" fmla="*/ 2072521 w 5514221"/>
              <a:gd name="connsiteY7" fmla="*/ 5645 h 5149145"/>
              <a:gd name="connsiteX0" fmla="*/ 2072521 w 5514221"/>
              <a:gd name="connsiteY0" fmla="*/ 5645 h 5149145"/>
              <a:gd name="connsiteX1" fmla="*/ 5514221 w 5514221"/>
              <a:gd name="connsiteY1" fmla="*/ 5645 h 5149145"/>
              <a:gd name="connsiteX2" fmla="*/ 5349121 w 5514221"/>
              <a:gd name="connsiteY2" fmla="*/ 3828345 h 5149145"/>
              <a:gd name="connsiteX3" fmla="*/ 4091821 w 5514221"/>
              <a:gd name="connsiteY3" fmla="*/ 5123745 h 5149145"/>
              <a:gd name="connsiteX4" fmla="*/ 1869321 w 5514221"/>
              <a:gd name="connsiteY4" fmla="*/ 5149145 h 5149145"/>
              <a:gd name="connsiteX5" fmla="*/ 65922 w 5514221"/>
              <a:gd name="connsiteY5" fmla="*/ 1796345 h 5149145"/>
              <a:gd name="connsiteX6" fmla="*/ 586621 w 5514221"/>
              <a:gd name="connsiteY6" fmla="*/ 602545 h 5149145"/>
              <a:gd name="connsiteX7" fmla="*/ 2072521 w 5514221"/>
              <a:gd name="connsiteY7" fmla="*/ 5645 h 51491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514221" h="5149145">
                <a:moveTo>
                  <a:pt x="2072521" y="5645"/>
                </a:moveTo>
                <a:cubicBezTo>
                  <a:pt x="2017488" y="-7055"/>
                  <a:pt x="4832654" y="5645"/>
                  <a:pt x="5514221" y="5645"/>
                </a:cubicBezTo>
                <a:lnTo>
                  <a:pt x="5349121" y="3828345"/>
                </a:lnTo>
                <a:cubicBezTo>
                  <a:pt x="5300438" y="5030612"/>
                  <a:pt x="4468588" y="5098345"/>
                  <a:pt x="4091821" y="5123745"/>
                </a:cubicBezTo>
                <a:lnTo>
                  <a:pt x="1869321" y="5149145"/>
                </a:lnTo>
                <a:cubicBezTo>
                  <a:pt x="1854505" y="5111045"/>
                  <a:pt x="131539" y="1902178"/>
                  <a:pt x="65922" y="1796345"/>
                </a:cubicBezTo>
                <a:cubicBezTo>
                  <a:pt x="-177495" y="1042812"/>
                  <a:pt x="311454" y="769762"/>
                  <a:pt x="586621" y="602545"/>
                </a:cubicBezTo>
                <a:lnTo>
                  <a:pt x="2072521" y="5645"/>
                </a:lnTo>
                <a:close/>
              </a:path>
            </a:pathLst>
          </a:custGeom>
          <a:pattFill prst="pct90">
            <a:fgClr>
              <a:schemeClr val="bg1">
                <a:lumMod val="85000"/>
              </a:schemeClr>
            </a:fgClr>
            <a:bgClr>
              <a:schemeClr val="bg1"/>
            </a:bgClr>
          </a:pattFill>
          <a:ln>
            <a:noFill/>
          </a:ln>
        </p:spPr>
        <p:txBody>
          <a:bodyPr/>
          <a:lstStyle>
            <a:lvl1pPr marL="0" indent="0" algn="r">
              <a:buNone/>
              <a:defRPr sz="600"/>
            </a:lvl1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0" hasCustomPrompt="1"/>
          </p:nvPr>
        </p:nvSpPr>
        <p:spPr>
          <a:xfrm>
            <a:off x="4220647" y="1655691"/>
            <a:ext cx="5151219" cy="4248614"/>
          </a:xfrm>
        </p:spPr>
        <p:txBody>
          <a:bodyPr/>
          <a:lstStyle>
            <a:lvl1pPr marL="0" indent="0">
              <a:buNone/>
              <a:defRPr sz="4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bg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bg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bg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155218" y="6407635"/>
            <a:ext cx="1621441" cy="262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5725513"/>
      </p:ext>
    </p:extLst>
  </p:cSld>
  <p:clrMapOvr>
    <a:masterClrMapping/>
  </p:clrMapOvr>
  <p:transition spd="slow"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ImagePlacehol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76092">
              <a:alpha val="4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/>
          <p:cNvSpPr>
            <a:spLocks/>
          </p:cNvSpPr>
          <p:nvPr userDrawn="1"/>
        </p:nvSpPr>
        <p:spPr bwMode="auto">
          <a:xfrm>
            <a:off x="5645162" y="364957"/>
            <a:ext cx="904864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5pPr>
            <a:lvl6pPr marL="25146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6pPr>
            <a:lvl7pPr marL="29718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7pPr>
            <a:lvl8pPr marL="34290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8pPr>
            <a:lvl9pPr marL="38862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9pPr>
          </a:lstStyle>
          <a:p>
            <a:pPr algn="ctr"/>
            <a:r>
              <a:rPr lang="en-US" altLang="x-none" sz="1400" b="1">
                <a:solidFill>
                  <a:srgbClr val="FF671B"/>
                </a:solidFill>
                <a:latin typeface="+mn-lt"/>
                <a:sym typeface="Montserrat-Regular" charset="0"/>
              </a:rPr>
              <a:t>PAHO/WHO</a:t>
            </a:r>
          </a:p>
        </p:txBody>
      </p:sp>
      <p:grpSp>
        <p:nvGrpSpPr>
          <p:cNvPr id="5" name="Group 4"/>
          <p:cNvGrpSpPr/>
          <p:nvPr userDrawn="1"/>
        </p:nvGrpSpPr>
        <p:grpSpPr>
          <a:xfrm>
            <a:off x="5897563" y="1470034"/>
            <a:ext cx="400050" cy="95250"/>
            <a:chOff x="1942594" y="2781300"/>
            <a:chExt cx="799891" cy="190500"/>
          </a:xfrm>
          <a:solidFill>
            <a:srgbClr val="FF671B"/>
          </a:solidFill>
        </p:grpSpPr>
        <p:sp>
          <p:nvSpPr>
            <p:cNvPr id="6" name="Oval 3"/>
            <p:cNvSpPr>
              <a:spLocks/>
            </p:cNvSpPr>
            <p:nvPr/>
          </p:nvSpPr>
          <p:spPr bwMode="auto">
            <a:xfrm>
              <a:off x="1942594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  <p:sp>
          <p:nvSpPr>
            <p:cNvPr id="7" name="Oval 4"/>
            <p:cNvSpPr>
              <a:spLocks/>
            </p:cNvSpPr>
            <p:nvPr/>
          </p:nvSpPr>
          <p:spPr bwMode="auto">
            <a:xfrm>
              <a:off x="2247315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  <p:sp>
          <p:nvSpPr>
            <p:cNvPr id="8" name="Oval 5"/>
            <p:cNvSpPr>
              <a:spLocks/>
            </p:cNvSpPr>
            <p:nvPr/>
          </p:nvSpPr>
          <p:spPr bwMode="auto">
            <a:xfrm>
              <a:off x="2552035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</p:grp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55217" y="6425850"/>
            <a:ext cx="1621441" cy="262553"/>
          </a:xfrm>
          <a:prstGeom prst="rect">
            <a:avLst/>
          </a:prstGeom>
        </p:spPr>
      </p:pic>
      <p:sp>
        <p:nvSpPr>
          <p:cNvPr id="11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851694" y="655532"/>
            <a:ext cx="10587038" cy="763139"/>
          </a:xfrm>
        </p:spPr>
        <p:txBody>
          <a:bodyPr/>
          <a:lstStyle>
            <a:lvl1pPr marL="0" indent="0" algn="ctr">
              <a:buNone/>
              <a:defRPr sz="44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bg1"/>
                </a:solidFill>
              </a:defRPr>
            </a:lvl2pPr>
            <a:lvl3pPr marL="914399" indent="0" algn="ctr"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72452267"/>
      </p:ext>
    </p:extLst>
  </p:cSld>
  <p:clrMapOvr>
    <a:masterClrMapping/>
  </p:clrMapOvr>
  <p:transition spd="slow"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Gener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 bwMode="auto">
          <a:xfrm>
            <a:off x="838419" y="611654"/>
            <a:ext cx="10515163" cy="8583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182843" tIns="91422" rIns="182843" bIns="91422" numCol="1" anchor="ctr" anchorCtr="0" compatLnSpc="1">
            <a:prstTxWarp prst="textNoShape">
              <a:avLst/>
            </a:prstTxWarp>
          </a:bodyPr>
          <a:lstStyle>
            <a:lvl1pPr algn="ctr">
              <a:defRPr sz="3800" b="1">
                <a:solidFill>
                  <a:srgbClr val="00AAF0"/>
                </a:solidFill>
              </a:defRPr>
            </a:lvl1pPr>
          </a:lstStyle>
          <a:p>
            <a:pPr lvl="0"/>
            <a:r>
              <a:rPr lang="en-US" altLang="x-none"/>
              <a:t>CLICK TO EDIT MASTER TITLE STYLE</a:t>
            </a:r>
          </a:p>
        </p:txBody>
      </p:sp>
      <p:sp>
        <p:nvSpPr>
          <p:cNvPr id="6" name="Rectangle 5"/>
          <p:cNvSpPr>
            <a:spLocks/>
          </p:cNvSpPr>
          <p:nvPr userDrawn="1"/>
        </p:nvSpPr>
        <p:spPr bwMode="auto">
          <a:xfrm>
            <a:off x="5645162" y="364957"/>
            <a:ext cx="904864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5pPr>
            <a:lvl6pPr marL="25146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6pPr>
            <a:lvl7pPr marL="29718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7pPr>
            <a:lvl8pPr marL="34290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8pPr>
            <a:lvl9pPr marL="38862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9pPr>
          </a:lstStyle>
          <a:p>
            <a:pPr algn="ctr"/>
            <a:r>
              <a:rPr lang="en-US" altLang="x-none" sz="1400" b="1">
                <a:solidFill>
                  <a:schemeClr val="bg1">
                    <a:lumMod val="65000"/>
                  </a:schemeClr>
                </a:solidFill>
                <a:latin typeface="+mn-lt"/>
                <a:sym typeface="Montserrat-Regular" charset="0"/>
              </a:rPr>
              <a:t>PAHO/WHO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838419" y="2064774"/>
            <a:ext cx="10515163" cy="406839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838419" y="6356350"/>
            <a:ext cx="2743121" cy="365125"/>
          </a:xfrm>
          <a:prstGeom prst="rect">
            <a:avLst/>
          </a:prstGeom>
        </p:spPr>
        <p:txBody>
          <a:bodyPr vert="horz" lIns="182843" tIns="91422" rIns="182843" bIns="91422" rtlCol="0" anchor="ctr"/>
          <a:lstStyle>
            <a:lvl1pPr algn="l" defTabSz="914217" fontAlgn="auto">
              <a:spcBef>
                <a:spcPts val="0"/>
              </a:spcBef>
              <a:spcAft>
                <a:spcPts val="0"/>
              </a:spcAft>
              <a:defRPr sz="1200" dirty="0">
                <a:solidFill>
                  <a:schemeClr val="tx1">
                    <a:tint val="75000"/>
                  </a:schemeClr>
                </a:solidFill>
                <a:latin typeface="+mj-lt"/>
                <a:ea typeface="+mn-ea"/>
                <a:cs typeface="Roboto Regular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859" y="6356350"/>
            <a:ext cx="4114284" cy="365125"/>
          </a:xfrm>
          <a:prstGeom prst="rect">
            <a:avLst/>
          </a:prstGeom>
        </p:spPr>
        <p:txBody>
          <a:bodyPr vert="horz" lIns="182843" tIns="91422" rIns="182843" bIns="91422" rtlCol="0" anchor="ctr"/>
          <a:lstStyle>
            <a:lvl1pPr algn="ctr" defTabSz="914217" fontAlgn="auto">
              <a:spcBef>
                <a:spcPts val="0"/>
              </a:spcBef>
              <a:spcAft>
                <a:spcPts val="0"/>
              </a:spcAft>
              <a:defRPr sz="1200" dirty="0">
                <a:solidFill>
                  <a:schemeClr val="tx1">
                    <a:tint val="75000"/>
                  </a:schemeClr>
                </a:solidFill>
                <a:latin typeface="+mj-lt"/>
                <a:ea typeface="+mn-ea"/>
                <a:cs typeface="Roboto Regular"/>
              </a:defRPr>
            </a:lvl1pPr>
          </a:lstStyle>
          <a:p>
            <a:pPr>
              <a:defRPr/>
            </a:pPr>
            <a:endParaRPr lang="en-US"/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5897563" y="1470034"/>
            <a:ext cx="400050" cy="95250"/>
            <a:chOff x="1942594" y="2781300"/>
            <a:chExt cx="799891" cy="190500"/>
          </a:xfrm>
          <a:solidFill>
            <a:schemeClr val="bg1">
              <a:lumMod val="85000"/>
            </a:schemeClr>
          </a:solidFill>
        </p:grpSpPr>
        <p:sp>
          <p:nvSpPr>
            <p:cNvPr id="19" name="Oval 3"/>
            <p:cNvSpPr>
              <a:spLocks/>
            </p:cNvSpPr>
            <p:nvPr/>
          </p:nvSpPr>
          <p:spPr bwMode="auto">
            <a:xfrm>
              <a:off x="1942594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  <p:sp>
          <p:nvSpPr>
            <p:cNvPr id="20" name="Oval 4"/>
            <p:cNvSpPr>
              <a:spLocks/>
            </p:cNvSpPr>
            <p:nvPr/>
          </p:nvSpPr>
          <p:spPr bwMode="auto">
            <a:xfrm>
              <a:off x="2247315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  <p:sp>
          <p:nvSpPr>
            <p:cNvPr id="21" name="Oval 5"/>
            <p:cNvSpPr>
              <a:spLocks/>
            </p:cNvSpPr>
            <p:nvPr/>
          </p:nvSpPr>
          <p:spPr bwMode="auto">
            <a:xfrm>
              <a:off x="2552035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</p:grp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542860" y="6410896"/>
            <a:ext cx="1621441" cy="262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5373698"/>
      </p:ext>
    </p:extLst>
  </p:cSld>
  <p:clrMapOvr>
    <a:masterClrMapping/>
  </p:clrMapOvr>
  <p:transition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ImagePlacehol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76092">
              <a:alpha val="4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/>
          <p:cNvSpPr>
            <a:spLocks/>
          </p:cNvSpPr>
          <p:nvPr userDrawn="1"/>
        </p:nvSpPr>
        <p:spPr bwMode="auto">
          <a:xfrm>
            <a:off x="5645162" y="364957"/>
            <a:ext cx="904864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5pPr>
            <a:lvl6pPr marL="25146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6pPr>
            <a:lvl7pPr marL="29718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7pPr>
            <a:lvl8pPr marL="34290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8pPr>
            <a:lvl9pPr marL="38862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9pPr>
          </a:lstStyle>
          <a:p>
            <a:pPr algn="ctr"/>
            <a:r>
              <a:rPr lang="en-US" altLang="x-none" sz="1400" b="1">
                <a:solidFill>
                  <a:srgbClr val="FF671B"/>
                </a:solidFill>
                <a:latin typeface="+mn-lt"/>
                <a:sym typeface="Montserrat-Regular" charset="0"/>
              </a:rPr>
              <a:t>PAHO/WHO</a:t>
            </a:r>
          </a:p>
        </p:txBody>
      </p:sp>
      <p:grpSp>
        <p:nvGrpSpPr>
          <p:cNvPr id="5" name="Group 4"/>
          <p:cNvGrpSpPr/>
          <p:nvPr userDrawn="1"/>
        </p:nvGrpSpPr>
        <p:grpSpPr>
          <a:xfrm>
            <a:off x="5897563" y="1470034"/>
            <a:ext cx="400050" cy="95250"/>
            <a:chOff x="1942594" y="2781300"/>
            <a:chExt cx="799891" cy="190500"/>
          </a:xfrm>
          <a:solidFill>
            <a:srgbClr val="FF671B"/>
          </a:solidFill>
        </p:grpSpPr>
        <p:sp>
          <p:nvSpPr>
            <p:cNvPr id="6" name="Oval 3"/>
            <p:cNvSpPr>
              <a:spLocks/>
            </p:cNvSpPr>
            <p:nvPr/>
          </p:nvSpPr>
          <p:spPr bwMode="auto">
            <a:xfrm>
              <a:off x="1942594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  <p:sp>
          <p:nvSpPr>
            <p:cNvPr id="7" name="Oval 4"/>
            <p:cNvSpPr>
              <a:spLocks/>
            </p:cNvSpPr>
            <p:nvPr/>
          </p:nvSpPr>
          <p:spPr bwMode="auto">
            <a:xfrm>
              <a:off x="2247315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  <p:sp>
          <p:nvSpPr>
            <p:cNvPr id="8" name="Oval 5"/>
            <p:cNvSpPr>
              <a:spLocks/>
            </p:cNvSpPr>
            <p:nvPr/>
          </p:nvSpPr>
          <p:spPr bwMode="auto">
            <a:xfrm>
              <a:off x="2552035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</p:grp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55217" y="6425850"/>
            <a:ext cx="1621441" cy="262553"/>
          </a:xfrm>
          <a:prstGeom prst="rect">
            <a:avLst/>
          </a:prstGeom>
        </p:spPr>
      </p:pic>
      <p:sp>
        <p:nvSpPr>
          <p:cNvPr id="11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851694" y="655532"/>
            <a:ext cx="10587038" cy="763139"/>
          </a:xfrm>
        </p:spPr>
        <p:txBody>
          <a:bodyPr/>
          <a:lstStyle>
            <a:lvl1pPr marL="0" indent="0" algn="ctr">
              <a:buNone/>
              <a:defRPr sz="44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bg1"/>
                </a:solidFill>
              </a:defRPr>
            </a:lvl2pPr>
            <a:lvl3pPr marL="914399" indent="0" algn="ctr"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85092479"/>
      </p:ext>
    </p:extLst>
  </p:cSld>
  <p:clrMapOvr>
    <a:masterClrMapping/>
  </p:clrMapOvr>
  <p:transition spd="slow"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2" imgH="355" progId="TCLayout.ActiveDocument.1">
                  <p:embed/>
                </p:oleObj>
              </mc:Choice>
              <mc:Fallback>
                <p:oleObj name="think-cell Slide" r:id="rId3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3607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anose="020F0502020204030204"/>
                <a:ea typeface="ＭＳ Ｐゴシック" charset="-128"/>
                <a:cs typeface="+mn-cs"/>
                <a:sym typeface="+mn-lt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8809689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6" hidden="1">
            <a:extLst>
              <a:ext uri="{FF2B5EF4-FFF2-40B4-BE49-F238E27FC236}">
                <a16:creationId xmlns:a16="http://schemas.microsoft.com/office/drawing/2014/main" id="{F7A68B15-EE20-4125-A615-0A987E99D731}"/>
              </a:ext>
            </a:extLst>
          </p:cNvPr>
          <p:cNvGraphicFramePr/>
          <p:nvPr/>
        </p:nvGraphicFramePr>
        <p:xfrm>
          <a:off x="1591" y="1591"/>
          <a:ext cx="1591" cy="15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" imgW="8313" imgH="8238" progId="TCLayout.ActiveDocument.1">
                  <p:embed/>
                </p:oleObj>
              </mc:Choice>
              <mc:Fallback>
                <p:oleObj name="think-cell Slide" r:id="rId2" imgW="8313" imgH="8238" progId="TCLayout.ActiveDocument.1">
                  <p:embed/>
                  <p:pic>
                    <p:nvPicPr>
                      <p:cNvPr id="2" name="Object 6" hidden="1">
                        <a:extLst>
                          <a:ext uri="{FF2B5EF4-FFF2-40B4-BE49-F238E27FC236}">
                            <a16:creationId xmlns:a16="http://schemas.microsoft.com/office/drawing/2014/main" id="{F7A68B15-EE20-4125-A615-0A987E99D7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91" cy="15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1" hidden="1">
            <a:extLst>
              <a:ext uri="{FF2B5EF4-FFF2-40B4-BE49-F238E27FC236}">
                <a16:creationId xmlns:a16="http://schemas.microsoft.com/office/drawing/2014/main" id="{148A4FBA-8DDF-419C-A26F-FB1565C0347A}"/>
              </a:ext>
            </a:extLst>
          </p:cNvPr>
          <p:cNvSpPr/>
          <p:nvPr/>
        </p:nvSpPr>
        <p:spPr>
          <a:xfrm>
            <a:off x="0" y="0"/>
            <a:ext cx="158748" cy="158748"/>
          </a:xfrm>
          <a:prstGeom prst="rect">
            <a:avLst/>
          </a:prstGeom>
          <a:solidFill>
            <a:srgbClr val="082F3B"/>
          </a:solidFill>
          <a:ln cap="flat">
            <a:noFill/>
            <a:prstDash val="solid"/>
          </a:ln>
        </p:spPr>
        <p:txBody>
          <a:bodyPr vert="horz" wrap="none" lIns="0" tIns="0" rIns="0" bIns="0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2500" b="1" i="0" u="none" strike="noStrike" kern="1200" cap="none" spc="0" baseline="0">
              <a:solidFill>
                <a:srgbClr val="FFFFFF"/>
              </a:solidFill>
              <a:uFillTx/>
              <a:latin typeface="Arial" pitchFamily="34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7E883EB1-7A78-45DE-81C1-1A190D77C00B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5" name="3. Subtitle">
            <a:extLst>
              <a:ext uri="{FF2B5EF4-FFF2-40B4-BE49-F238E27FC236}">
                <a16:creationId xmlns:a16="http://schemas.microsoft.com/office/drawing/2014/main" id="{0A86B79A-FE1D-4223-A31A-8C23FE389B09}"/>
              </a:ext>
            </a:extLst>
          </p:cNvPr>
          <p:cNvSpPr txBox="1">
            <a:spLocks noGrp="1"/>
          </p:cNvSpPr>
          <p:nvPr>
            <p:ph type="subTitle" idx="4294967295"/>
          </p:nvPr>
        </p:nvSpPr>
        <p:spPr>
          <a:xfrm>
            <a:off x="554739" y="663223"/>
            <a:ext cx="11082528" cy="246220"/>
          </a:xfrm>
        </p:spPr>
        <p:txBody>
          <a:bodyPr>
            <a:noAutofit/>
          </a:bodyPr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B677FDAF-2A9E-4680-A51B-A19C6B982400}"/>
              </a:ext>
            </a:extLst>
          </p:cNvPr>
          <p:cNvSpPr/>
          <p:nvPr/>
        </p:nvSpPr>
        <p:spPr>
          <a:xfrm>
            <a:off x="11312527" y="6584813"/>
            <a:ext cx="325498" cy="138495"/>
          </a:xfrm>
          <a:prstGeom prst="rect">
            <a:avLst/>
          </a:prstGeom>
          <a:noFill/>
          <a:ln cap="flat">
            <a:noFill/>
            <a:prstDash val="solid"/>
          </a:ln>
        </p:spPr>
        <p:txBody>
          <a:bodyPr vert="horz" wrap="square" lIns="0" tIns="0" rIns="0" bIns="0" anchor="ctr" anchorCtr="0" compatLnSpc="1">
            <a:spAutoFit/>
          </a:bodyPr>
          <a:lstStyle/>
          <a:p>
            <a:pPr marL="0" marR="0" lvl="0" indent="0" algn="r" defTabSz="610746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fld id="{15CDBA0C-6E2A-49D4-9E3C-B485683024BB}" type="slidenum">
              <a:t>‹#›</a:t>
            </a:fld>
            <a:endParaRPr lang="en-US" sz="900" b="0" i="0" u="none" strike="noStrike" kern="1200" cap="none" spc="0" baseline="0">
              <a:solidFill>
                <a:srgbClr val="000000"/>
              </a:solidFill>
              <a:uFillTx/>
              <a:latin typeface="Arial"/>
              <a:cs typeface="Arial" pitchFamily="34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05FEA42-68F9-4AE6-9FB6-AB2E00EB9458}"/>
              </a:ext>
            </a:extLst>
          </p:cNvPr>
          <p:cNvSpPr txBox="1"/>
          <p:nvPr/>
        </p:nvSpPr>
        <p:spPr>
          <a:xfrm>
            <a:off x="553970" y="6592513"/>
            <a:ext cx="9144000" cy="123114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ctr" anchorCtr="0" compatLnSpc="1">
            <a:sp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100000"/>
              <a:buFont typeface="Segoe UI" pitchFamily="34"/>
              <a:buChar char="​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800" b="0" i="0" u="none" strike="noStrike" kern="1200" cap="none" spc="0" baseline="0">
                <a:solidFill>
                  <a:srgbClr val="000000"/>
                </a:solidFill>
                <a:uFillTx/>
                <a:latin typeface="Arial"/>
                <a:cs typeface="Arial" pitchFamily="34"/>
              </a:rPr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DBCFDD8E-8FCB-478E-9FE9-625EED19C8A7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554739" y="41596"/>
            <a:ext cx="3843342" cy="123114"/>
          </a:xfrm>
        </p:spPr>
        <p:txBody>
          <a:bodyPr/>
          <a:lstStyle>
            <a:lvl1pPr>
              <a:buNone/>
              <a:defRPr sz="800"/>
            </a:lvl1pPr>
          </a:lstStyle>
          <a:p>
            <a:pPr lvl="0"/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4288743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6F48DE-1BC4-4420-8C2F-A9CBB4EBA9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379CFD0-5324-40ED-800E-866C1CF33D0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14E64D3-EC36-4DC2-B26F-4CC79EE277E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AB1A85E-D882-468C-A2C4-3791866D84E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0479257-1C2B-4351-9E37-0686E4D3AB8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F274E5A-3BD5-4408-9AD2-D5B82664BD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3732C9-5F14-4951-A9C4-C0D69F294AC1}" type="datetimeFigureOut">
              <a:rPr lang="en-US" smtClean="0"/>
              <a:t>7/23/2021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71B9CE7-65D7-454C-BC88-67697CC50A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612E279-79F5-49C5-86C2-8751AC66CF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B677A1-A2BC-49BA-8E98-86F5509D8B4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308168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189797-15D1-4DF9-8769-D22E1386E0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70435A5-A997-41B1-820F-80B7B53196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3732C9-5F14-4951-A9C4-C0D69F294AC1}" type="datetimeFigureOut">
              <a:rPr lang="en-US" smtClean="0"/>
              <a:t>7/23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861E346-8BD1-405C-8E1A-DA0524C4A0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5E2D8CA-56B2-4211-974A-69A47D91B6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B677A1-A2BC-49BA-8E98-86F5509D8B4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804038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244A873-14AF-4C88-8DFE-47A2839F7E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3732C9-5F14-4951-A9C4-C0D69F294AC1}" type="datetimeFigureOut">
              <a:rPr lang="en-US" smtClean="0"/>
              <a:t>7/23/20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B843FBD-1553-4624-9899-F8F3C33979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802B8ED-4BD9-4F54-B08E-271CBF319E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B677A1-A2BC-49BA-8E98-86F5509D8B4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063410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3D603F-493E-4D73-8329-7C21118CFB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8099BC9-CA48-4FA1-908E-D75692B6031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D8F737-67AF-4B1F-BAA6-CF4FFCC0180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A9B6195-D181-4BF8-BFFC-1956627153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3732C9-5F14-4951-A9C4-C0D69F294AC1}" type="datetimeFigureOut">
              <a:rPr lang="en-US" smtClean="0"/>
              <a:t>7/23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D8874C5-89AD-4EEF-ACEF-52F295DAC6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830691D-4562-4BA9-A027-6B2CA28811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B677A1-A2BC-49BA-8E98-86F5509D8B4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762542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48B8A1-CDD3-4068-90AF-DF0968BDC1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40F9125-3241-4F9F-A03E-6C34C1C5032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12B0AD-6BB5-416C-AA02-7831B91C6B8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DC2A766-AD45-4AF3-8074-27A49BD9AE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3732C9-5F14-4951-A9C4-C0D69F294AC1}" type="datetimeFigureOut">
              <a:rPr lang="en-US" smtClean="0"/>
              <a:t>7/23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6560763-0AF3-4734-A303-DF04322BEA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396D5FB-F860-4957-97DC-D81D50A186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B677A1-A2BC-49BA-8E98-86F5509D8B4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0499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21" Type="http://schemas.openxmlformats.org/officeDocument/2006/relationships/slideLayout" Target="../slideLayouts/slideLayout32.xml"/><Relationship Id="rId34" Type="http://schemas.openxmlformats.org/officeDocument/2006/relationships/slideLayout" Target="../slideLayouts/slideLayout45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33" Type="http://schemas.openxmlformats.org/officeDocument/2006/relationships/slideLayout" Target="../slideLayouts/slideLayout44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29" Type="http://schemas.openxmlformats.org/officeDocument/2006/relationships/slideLayout" Target="../slideLayouts/slideLayout40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32" Type="http://schemas.openxmlformats.org/officeDocument/2006/relationships/slideLayout" Target="../slideLayouts/slideLayout43.xml"/><Relationship Id="rId37" Type="http://schemas.openxmlformats.org/officeDocument/2006/relationships/theme" Target="../theme/theme2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slideLayout" Target="../slideLayouts/slideLayout39.xml"/><Relationship Id="rId36" Type="http://schemas.openxmlformats.org/officeDocument/2006/relationships/slideLayout" Target="../slideLayouts/slideLayout47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42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Relationship Id="rId30" Type="http://schemas.openxmlformats.org/officeDocument/2006/relationships/slideLayout" Target="../slideLayouts/slideLayout41.xml"/><Relationship Id="rId35" Type="http://schemas.openxmlformats.org/officeDocument/2006/relationships/slideLayout" Target="../slideLayouts/slideLayout46.xml"/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CC05271-7251-4082-982A-B49FE60F3E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A6EA3D3-4026-403C-B46B-4B224376D17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D551E6F-7602-47B4-B7B0-C949AEF899B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53732C9-5F14-4951-A9C4-C0D69F294AC1}" type="datetimeFigureOut">
              <a:rPr lang="en-US" smtClean="0"/>
              <a:t>7/2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323663-F155-4C66-B544-9754110A189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AB70A6-FA15-403D-B0A8-407D1C2DC81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0B677A1-A2BC-49BA-8E98-86F5509D8B4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30528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D0BFE8B-D038-4A09-9B16-3905E4136B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CA99866-8F3B-43A4-9082-E6214BA600E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423C192-2CCC-4C24-A69F-4E7BCE881F3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B8AC7D1-FAF2-4BC8-A461-23908234230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E3CEA9B-265F-4B23-8EE4-C906AB889F6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864FEA-1DA4-48A5-8C27-3E4FD55277C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2112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6" r:id="rId35"/>
    <p:sldLayoutId id="2147483697" r:id="rId3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8B2444-E4B6-477F-9EDE-47028A8F1E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816" y="142577"/>
            <a:ext cx="12049577" cy="896452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2800" b="1" dirty="0">
                <a:solidFill>
                  <a:schemeClr val="tx2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rPr>
              <a:t>Follow-up Campaigns </a:t>
            </a:r>
            <a:r>
              <a:rPr lang="en-US" sz="2800" b="1" dirty="0">
                <a:solidFill>
                  <a:schemeClr val="accent2">
                    <a:lumMod val="75000"/>
                  </a:schemeClr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rPr>
              <a:t>Against Measles and Rubella </a:t>
            </a:r>
            <a:br>
              <a:rPr lang="en-US" sz="2800" b="1" dirty="0">
                <a:solidFill>
                  <a:srgbClr val="0092CC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rPr>
            </a:br>
            <a:r>
              <a:rPr lang="en-US" sz="2800" b="1" dirty="0">
                <a:solidFill>
                  <a:schemeClr val="tx2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rPr>
              <a:t>The Americas, 2020 - 2021 </a:t>
            </a:r>
            <a:endParaRPr lang="en-US" sz="2800" b="1" kern="1200" dirty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C5EC4D3-10C2-44C7-B3AF-471DA6E9887D}"/>
              </a:ext>
            </a:extLst>
          </p:cNvPr>
          <p:cNvSpPr txBox="1"/>
          <p:nvPr/>
        </p:nvSpPr>
        <p:spPr>
          <a:xfrm>
            <a:off x="3162357" y="5969220"/>
            <a:ext cx="7868730" cy="400110"/>
          </a:xfrm>
          <a:prstGeom prst="rect">
            <a:avLst/>
          </a:prstGeom>
          <a:solidFill>
            <a:srgbClr val="002060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4.7 million of children &lt;10 years old in 8 countries to be vaccinated</a:t>
            </a:r>
          </a:p>
        </p:txBody>
      </p:sp>
      <p:sp>
        <p:nvSpPr>
          <p:cNvPr id="7" name="Google Shape;624;p19">
            <a:extLst>
              <a:ext uri="{FF2B5EF4-FFF2-40B4-BE49-F238E27FC236}">
                <a16:creationId xmlns:a16="http://schemas.microsoft.com/office/drawing/2014/main" id="{A0C16B19-D21D-441B-87AB-1A2A4D658449}"/>
              </a:ext>
            </a:extLst>
          </p:cNvPr>
          <p:cNvSpPr txBox="1"/>
          <p:nvPr/>
        </p:nvSpPr>
        <p:spPr>
          <a:xfrm>
            <a:off x="931909" y="3137753"/>
            <a:ext cx="668344" cy="2307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tabLst/>
              <a:defRPr/>
            </a:pPr>
            <a:r>
              <a:rPr kumimoji="0" lang="es-PE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México</a:t>
            </a:r>
            <a:endParaRPr kumimoji="0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" name="Google Shape;626;p19">
            <a:extLst>
              <a:ext uri="{FF2B5EF4-FFF2-40B4-BE49-F238E27FC236}">
                <a16:creationId xmlns:a16="http://schemas.microsoft.com/office/drawing/2014/main" id="{FFC6F953-23FA-45D3-983C-DBCA7C733AD2}"/>
              </a:ext>
            </a:extLst>
          </p:cNvPr>
          <p:cNvSpPr txBox="1"/>
          <p:nvPr/>
        </p:nvSpPr>
        <p:spPr>
          <a:xfrm>
            <a:off x="1231217" y="3403052"/>
            <a:ext cx="1171637" cy="2307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tabLst/>
              <a:defRPr/>
            </a:pPr>
            <a:r>
              <a:rPr kumimoji="0" lang="es-PE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Honduras</a:t>
            </a:r>
            <a:endParaRPr kumimoji="0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" name="Google Shape;627;p19">
            <a:extLst>
              <a:ext uri="{FF2B5EF4-FFF2-40B4-BE49-F238E27FC236}">
                <a16:creationId xmlns:a16="http://schemas.microsoft.com/office/drawing/2014/main" id="{52C61B4C-5F94-4028-A04A-6E5B1B81E8E2}"/>
              </a:ext>
            </a:extLst>
          </p:cNvPr>
          <p:cNvSpPr txBox="1"/>
          <p:nvPr/>
        </p:nvSpPr>
        <p:spPr>
          <a:xfrm>
            <a:off x="1671376" y="3515394"/>
            <a:ext cx="1171637" cy="2307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tabLst/>
              <a:defRPr/>
            </a:pPr>
            <a:r>
              <a:rPr kumimoji="0" lang="es-PE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Colombia</a:t>
            </a:r>
            <a:endParaRPr kumimoji="0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" name="Google Shape;628;p19">
            <a:extLst>
              <a:ext uri="{FF2B5EF4-FFF2-40B4-BE49-F238E27FC236}">
                <a16:creationId xmlns:a16="http://schemas.microsoft.com/office/drawing/2014/main" id="{E902C94A-A4AB-4A21-81A8-6318127D4EA5}"/>
              </a:ext>
            </a:extLst>
          </p:cNvPr>
          <p:cNvSpPr txBox="1"/>
          <p:nvPr/>
        </p:nvSpPr>
        <p:spPr>
          <a:xfrm>
            <a:off x="2122571" y="4882179"/>
            <a:ext cx="1171637" cy="2307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tabLst/>
              <a:defRPr/>
            </a:pPr>
            <a:r>
              <a:rPr kumimoji="0" lang="es-PE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Chile</a:t>
            </a:r>
            <a:endParaRPr kumimoji="0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" name="Google Shape;629;p19">
            <a:extLst>
              <a:ext uri="{FF2B5EF4-FFF2-40B4-BE49-F238E27FC236}">
                <a16:creationId xmlns:a16="http://schemas.microsoft.com/office/drawing/2014/main" id="{03441D89-728D-4084-BAF2-6BFF85FCCA73}"/>
              </a:ext>
            </a:extLst>
          </p:cNvPr>
          <p:cNvSpPr txBox="1"/>
          <p:nvPr/>
        </p:nvSpPr>
        <p:spPr>
          <a:xfrm>
            <a:off x="3578010" y="4776704"/>
            <a:ext cx="854605" cy="2307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tabLst/>
              <a:defRPr/>
            </a:pPr>
            <a:r>
              <a:rPr kumimoji="0" lang="es-PE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Paraguay </a:t>
            </a:r>
            <a:endParaRPr kumimoji="0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" name="Google Shape;630;p19">
            <a:extLst>
              <a:ext uri="{FF2B5EF4-FFF2-40B4-BE49-F238E27FC236}">
                <a16:creationId xmlns:a16="http://schemas.microsoft.com/office/drawing/2014/main" id="{B6D8B772-AC61-450A-BF58-91E2B4014D4D}"/>
              </a:ext>
            </a:extLst>
          </p:cNvPr>
          <p:cNvSpPr txBox="1"/>
          <p:nvPr/>
        </p:nvSpPr>
        <p:spPr>
          <a:xfrm>
            <a:off x="1999884" y="4446375"/>
            <a:ext cx="699876" cy="2307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tabLst/>
              <a:defRPr/>
            </a:pPr>
            <a:r>
              <a:rPr kumimoji="0" lang="es-PE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Bolivia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grpSp>
        <p:nvGrpSpPr>
          <p:cNvPr id="14" name="Google Shape;487;p19">
            <a:extLst>
              <a:ext uri="{FF2B5EF4-FFF2-40B4-BE49-F238E27FC236}">
                <a16:creationId xmlns:a16="http://schemas.microsoft.com/office/drawing/2014/main" id="{9842EC1B-03EF-486A-94E0-6F7BA2A61F08}"/>
              </a:ext>
            </a:extLst>
          </p:cNvPr>
          <p:cNvGrpSpPr/>
          <p:nvPr/>
        </p:nvGrpSpPr>
        <p:grpSpPr>
          <a:xfrm>
            <a:off x="967345" y="1191237"/>
            <a:ext cx="3165964" cy="4343381"/>
            <a:chOff x="1776" y="688"/>
            <a:chExt cx="2510" cy="3196"/>
          </a:xfrm>
        </p:grpSpPr>
        <p:sp>
          <p:nvSpPr>
            <p:cNvPr id="15" name="Google Shape;488;p19">
              <a:extLst>
                <a:ext uri="{FF2B5EF4-FFF2-40B4-BE49-F238E27FC236}">
                  <a16:creationId xmlns:a16="http://schemas.microsoft.com/office/drawing/2014/main" id="{F225E11F-96FF-4CE6-AC62-388101FDD0EE}"/>
                </a:ext>
              </a:extLst>
            </p:cNvPr>
            <p:cNvSpPr/>
            <p:nvPr/>
          </p:nvSpPr>
          <p:spPr>
            <a:xfrm>
              <a:off x="3156" y="1713"/>
              <a:ext cx="15" cy="15"/>
            </a:xfrm>
            <a:custGeom>
              <a:avLst/>
              <a:gdLst/>
              <a:ahLst/>
              <a:cxnLst/>
              <a:rect l="l" t="t" r="r" b="b"/>
              <a:pathLst>
                <a:path w="51" h="52" extrusionOk="0">
                  <a:moveTo>
                    <a:pt x="38" y="0"/>
                  </a:moveTo>
                  <a:lnTo>
                    <a:pt x="48" y="1"/>
                  </a:lnTo>
                  <a:lnTo>
                    <a:pt x="51" y="15"/>
                  </a:lnTo>
                  <a:lnTo>
                    <a:pt x="48" y="21"/>
                  </a:lnTo>
                  <a:lnTo>
                    <a:pt x="23" y="49"/>
                  </a:lnTo>
                  <a:lnTo>
                    <a:pt x="10" y="52"/>
                  </a:lnTo>
                  <a:lnTo>
                    <a:pt x="3" y="44"/>
                  </a:lnTo>
                  <a:lnTo>
                    <a:pt x="0" y="34"/>
                  </a:lnTo>
                  <a:lnTo>
                    <a:pt x="12" y="12"/>
                  </a:lnTo>
                  <a:lnTo>
                    <a:pt x="38" y="0"/>
                  </a:lnTo>
                  <a:close/>
                </a:path>
              </a:pathLst>
            </a:custGeom>
            <a:solidFill>
              <a:srgbClr val="00CC00"/>
            </a:solidFill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" name="Google Shape;489;p19">
              <a:extLst>
                <a:ext uri="{FF2B5EF4-FFF2-40B4-BE49-F238E27FC236}">
                  <a16:creationId xmlns:a16="http://schemas.microsoft.com/office/drawing/2014/main" id="{E4FA0D53-966D-4FF7-8BAC-4358EFD52CBA}"/>
                </a:ext>
              </a:extLst>
            </p:cNvPr>
            <p:cNvSpPr/>
            <p:nvPr/>
          </p:nvSpPr>
          <p:spPr>
            <a:xfrm>
              <a:off x="3156" y="1713"/>
              <a:ext cx="15" cy="15"/>
            </a:xfrm>
            <a:custGeom>
              <a:avLst/>
              <a:gdLst/>
              <a:ahLst/>
              <a:cxnLst/>
              <a:rect l="l" t="t" r="r" b="b"/>
              <a:pathLst>
                <a:path w="51" h="52" extrusionOk="0">
                  <a:moveTo>
                    <a:pt x="38" y="0"/>
                  </a:moveTo>
                  <a:lnTo>
                    <a:pt x="48" y="1"/>
                  </a:lnTo>
                  <a:lnTo>
                    <a:pt x="51" y="15"/>
                  </a:lnTo>
                  <a:lnTo>
                    <a:pt x="48" y="21"/>
                  </a:lnTo>
                  <a:lnTo>
                    <a:pt x="23" y="49"/>
                  </a:lnTo>
                  <a:lnTo>
                    <a:pt x="10" y="52"/>
                  </a:lnTo>
                  <a:lnTo>
                    <a:pt x="3" y="44"/>
                  </a:lnTo>
                  <a:lnTo>
                    <a:pt x="0" y="34"/>
                  </a:lnTo>
                  <a:lnTo>
                    <a:pt x="12" y="12"/>
                  </a:lnTo>
                  <a:lnTo>
                    <a:pt x="38" y="0"/>
                  </a:lnTo>
                </a:path>
              </a:pathLst>
            </a:custGeom>
            <a:solidFill>
              <a:srgbClr val="00CC00"/>
            </a:solidFill>
            <a:ln w="12700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" name="Google Shape;490;p19">
              <a:extLst>
                <a:ext uri="{FF2B5EF4-FFF2-40B4-BE49-F238E27FC236}">
                  <a16:creationId xmlns:a16="http://schemas.microsoft.com/office/drawing/2014/main" id="{27396490-596A-4DB6-875B-BECB50C63BC7}"/>
                </a:ext>
              </a:extLst>
            </p:cNvPr>
            <p:cNvSpPr/>
            <p:nvPr/>
          </p:nvSpPr>
          <p:spPr>
            <a:xfrm>
              <a:off x="3329" y="2054"/>
              <a:ext cx="11" cy="11"/>
            </a:xfrm>
            <a:custGeom>
              <a:avLst/>
              <a:gdLst/>
              <a:ahLst/>
              <a:cxnLst/>
              <a:rect l="l" t="t" r="r" b="b"/>
              <a:pathLst>
                <a:path w="41" h="42" extrusionOk="0">
                  <a:moveTo>
                    <a:pt x="4" y="0"/>
                  </a:moveTo>
                  <a:lnTo>
                    <a:pt x="34" y="4"/>
                  </a:lnTo>
                  <a:lnTo>
                    <a:pt x="41" y="17"/>
                  </a:lnTo>
                  <a:lnTo>
                    <a:pt x="29" y="32"/>
                  </a:lnTo>
                  <a:lnTo>
                    <a:pt x="7" y="42"/>
                  </a:lnTo>
                  <a:lnTo>
                    <a:pt x="0" y="34"/>
                  </a:lnTo>
                  <a:lnTo>
                    <a:pt x="0" y="6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CC00"/>
            </a:solidFill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" name="Google Shape;491;p19">
              <a:extLst>
                <a:ext uri="{FF2B5EF4-FFF2-40B4-BE49-F238E27FC236}">
                  <a16:creationId xmlns:a16="http://schemas.microsoft.com/office/drawing/2014/main" id="{078C954F-F05D-4462-8966-7EDB45811E4F}"/>
                </a:ext>
              </a:extLst>
            </p:cNvPr>
            <p:cNvSpPr/>
            <p:nvPr/>
          </p:nvSpPr>
          <p:spPr>
            <a:xfrm>
              <a:off x="3329" y="2054"/>
              <a:ext cx="11" cy="11"/>
            </a:xfrm>
            <a:custGeom>
              <a:avLst/>
              <a:gdLst/>
              <a:ahLst/>
              <a:cxnLst/>
              <a:rect l="l" t="t" r="r" b="b"/>
              <a:pathLst>
                <a:path w="41" h="42" extrusionOk="0">
                  <a:moveTo>
                    <a:pt x="4" y="0"/>
                  </a:moveTo>
                  <a:lnTo>
                    <a:pt x="34" y="4"/>
                  </a:lnTo>
                  <a:lnTo>
                    <a:pt x="41" y="17"/>
                  </a:lnTo>
                  <a:lnTo>
                    <a:pt x="29" y="32"/>
                  </a:lnTo>
                  <a:lnTo>
                    <a:pt x="7" y="42"/>
                  </a:lnTo>
                  <a:lnTo>
                    <a:pt x="0" y="34"/>
                  </a:lnTo>
                  <a:lnTo>
                    <a:pt x="0" y="6"/>
                  </a:lnTo>
                  <a:lnTo>
                    <a:pt x="4" y="0"/>
                  </a:lnTo>
                </a:path>
              </a:pathLst>
            </a:custGeom>
            <a:solidFill>
              <a:srgbClr val="00CC00"/>
            </a:solidFill>
            <a:ln w="12700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" name="Google Shape;492;p19">
              <a:extLst>
                <a:ext uri="{FF2B5EF4-FFF2-40B4-BE49-F238E27FC236}">
                  <a16:creationId xmlns:a16="http://schemas.microsoft.com/office/drawing/2014/main" id="{C2F612C2-126C-4F74-809C-6F9DEFB96BD4}"/>
                </a:ext>
              </a:extLst>
            </p:cNvPr>
            <p:cNvSpPr/>
            <p:nvPr/>
          </p:nvSpPr>
          <p:spPr>
            <a:xfrm>
              <a:off x="3338" y="2067"/>
              <a:ext cx="11" cy="12"/>
            </a:xfrm>
            <a:custGeom>
              <a:avLst/>
              <a:gdLst/>
              <a:ahLst/>
              <a:cxnLst/>
              <a:rect l="l" t="t" r="r" b="b"/>
              <a:pathLst>
                <a:path w="42" h="41" extrusionOk="0">
                  <a:moveTo>
                    <a:pt x="24" y="0"/>
                  </a:moveTo>
                  <a:lnTo>
                    <a:pt x="39" y="6"/>
                  </a:lnTo>
                  <a:lnTo>
                    <a:pt x="42" y="15"/>
                  </a:lnTo>
                  <a:lnTo>
                    <a:pt x="27" y="38"/>
                  </a:lnTo>
                  <a:lnTo>
                    <a:pt x="8" y="41"/>
                  </a:lnTo>
                  <a:lnTo>
                    <a:pt x="0" y="32"/>
                  </a:lnTo>
                  <a:lnTo>
                    <a:pt x="3" y="23"/>
                  </a:lnTo>
                  <a:lnTo>
                    <a:pt x="10" y="6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rgbClr val="00CC00"/>
            </a:solidFill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" name="Google Shape;493;p19">
              <a:extLst>
                <a:ext uri="{FF2B5EF4-FFF2-40B4-BE49-F238E27FC236}">
                  <a16:creationId xmlns:a16="http://schemas.microsoft.com/office/drawing/2014/main" id="{60B84D21-691E-4A56-AA85-DD8C7C7D9B74}"/>
                </a:ext>
              </a:extLst>
            </p:cNvPr>
            <p:cNvSpPr/>
            <p:nvPr/>
          </p:nvSpPr>
          <p:spPr>
            <a:xfrm>
              <a:off x="3338" y="2067"/>
              <a:ext cx="11" cy="12"/>
            </a:xfrm>
            <a:custGeom>
              <a:avLst/>
              <a:gdLst/>
              <a:ahLst/>
              <a:cxnLst/>
              <a:rect l="l" t="t" r="r" b="b"/>
              <a:pathLst>
                <a:path w="42" h="41" extrusionOk="0">
                  <a:moveTo>
                    <a:pt x="24" y="0"/>
                  </a:moveTo>
                  <a:lnTo>
                    <a:pt x="39" y="6"/>
                  </a:lnTo>
                  <a:lnTo>
                    <a:pt x="42" y="15"/>
                  </a:lnTo>
                  <a:lnTo>
                    <a:pt x="27" y="38"/>
                  </a:lnTo>
                  <a:lnTo>
                    <a:pt x="8" y="41"/>
                  </a:lnTo>
                  <a:lnTo>
                    <a:pt x="0" y="32"/>
                  </a:lnTo>
                  <a:lnTo>
                    <a:pt x="3" y="23"/>
                  </a:lnTo>
                  <a:lnTo>
                    <a:pt x="10" y="6"/>
                  </a:lnTo>
                  <a:lnTo>
                    <a:pt x="24" y="0"/>
                  </a:lnTo>
                </a:path>
              </a:pathLst>
            </a:custGeom>
            <a:solidFill>
              <a:srgbClr val="00CC00"/>
            </a:solidFill>
            <a:ln w="12700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" name="Google Shape;494;p19">
              <a:extLst>
                <a:ext uri="{FF2B5EF4-FFF2-40B4-BE49-F238E27FC236}">
                  <a16:creationId xmlns:a16="http://schemas.microsoft.com/office/drawing/2014/main" id="{FAB1E77B-8837-4C12-99FA-E74115560913}"/>
                </a:ext>
              </a:extLst>
            </p:cNvPr>
            <p:cNvSpPr/>
            <p:nvPr/>
          </p:nvSpPr>
          <p:spPr>
            <a:xfrm>
              <a:off x="3351" y="2084"/>
              <a:ext cx="13" cy="13"/>
            </a:xfrm>
            <a:custGeom>
              <a:avLst/>
              <a:gdLst/>
              <a:ahLst/>
              <a:cxnLst/>
              <a:rect l="l" t="t" r="r" b="b"/>
              <a:pathLst>
                <a:path w="47" h="48" extrusionOk="0">
                  <a:moveTo>
                    <a:pt x="4" y="7"/>
                  </a:moveTo>
                  <a:lnTo>
                    <a:pt x="40" y="0"/>
                  </a:lnTo>
                  <a:lnTo>
                    <a:pt x="47" y="8"/>
                  </a:lnTo>
                  <a:lnTo>
                    <a:pt x="47" y="12"/>
                  </a:lnTo>
                  <a:lnTo>
                    <a:pt x="36" y="45"/>
                  </a:lnTo>
                  <a:lnTo>
                    <a:pt x="12" y="48"/>
                  </a:lnTo>
                  <a:lnTo>
                    <a:pt x="7" y="45"/>
                  </a:lnTo>
                  <a:lnTo>
                    <a:pt x="0" y="12"/>
                  </a:lnTo>
                  <a:lnTo>
                    <a:pt x="4" y="7"/>
                  </a:lnTo>
                  <a:close/>
                </a:path>
              </a:pathLst>
            </a:custGeom>
            <a:noFill/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" name="Google Shape;495;p19">
              <a:extLst>
                <a:ext uri="{FF2B5EF4-FFF2-40B4-BE49-F238E27FC236}">
                  <a16:creationId xmlns:a16="http://schemas.microsoft.com/office/drawing/2014/main" id="{F89EB5AD-A4CA-4AE3-8C25-ECC74FF54222}"/>
                </a:ext>
              </a:extLst>
            </p:cNvPr>
            <p:cNvSpPr/>
            <p:nvPr/>
          </p:nvSpPr>
          <p:spPr>
            <a:xfrm>
              <a:off x="3351" y="2084"/>
              <a:ext cx="13" cy="13"/>
            </a:xfrm>
            <a:custGeom>
              <a:avLst/>
              <a:gdLst/>
              <a:ahLst/>
              <a:cxnLst/>
              <a:rect l="l" t="t" r="r" b="b"/>
              <a:pathLst>
                <a:path w="47" h="48" extrusionOk="0">
                  <a:moveTo>
                    <a:pt x="4" y="7"/>
                  </a:moveTo>
                  <a:lnTo>
                    <a:pt x="40" y="0"/>
                  </a:lnTo>
                  <a:lnTo>
                    <a:pt x="47" y="8"/>
                  </a:lnTo>
                  <a:lnTo>
                    <a:pt x="47" y="12"/>
                  </a:lnTo>
                  <a:lnTo>
                    <a:pt x="36" y="45"/>
                  </a:lnTo>
                  <a:lnTo>
                    <a:pt x="12" y="48"/>
                  </a:lnTo>
                  <a:lnTo>
                    <a:pt x="7" y="45"/>
                  </a:lnTo>
                  <a:lnTo>
                    <a:pt x="0" y="12"/>
                  </a:lnTo>
                  <a:lnTo>
                    <a:pt x="4" y="7"/>
                  </a:lnTo>
                </a:path>
              </a:pathLst>
            </a:custGeom>
            <a:solidFill>
              <a:srgbClr val="00FF00"/>
            </a:solidFill>
            <a:ln w="12700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" name="Google Shape;496;p19">
              <a:extLst>
                <a:ext uri="{FF2B5EF4-FFF2-40B4-BE49-F238E27FC236}">
                  <a16:creationId xmlns:a16="http://schemas.microsoft.com/office/drawing/2014/main" id="{FCFD7AA9-C8A6-4DA0-BC6C-983D6B81559D}"/>
                </a:ext>
              </a:extLst>
            </p:cNvPr>
            <p:cNvSpPr/>
            <p:nvPr/>
          </p:nvSpPr>
          <p:spPr>
            <a:xfrm>
              <a:off x="3357" y="2102"/>
              <a:ext cx="11" cy="9"/>
            </a:xfrm>
            <a:custGeom>
              <a:avLst/>
              <a:gdLst/>
              <a:ahLst/>
              <a:cxnLst/>
              <a:rect l="l" t="t" r="r" b="b"/>
              <a:pathLst>
                <a:path w="37" h="38" extrusionOk="0">
                  <a:moveTo>
                    <a:pt x="6" y="1"/>
                  </a:moveTo>
                  <a:lnTo>
                    <a:pt x="29" y="0"/>
                  </a:lnTo>
                  <a:lnTo>
                    <a:pt x="36" y="8"/>
                  </a:lnTo>
                  <a:lnTo>
                    <a:pt x="37" y="17"/>
                  </a:lnTo>
                  <a:lnTo>
                    <a:pt x="30" y="34"/>
                  </a:lnTo>
                  <a:lnTo>
                    <a:pt x="8" y="38"/>
                  </a:lnTo>
                  <a:lnTo>
                    <a:pt x="2" y="30"/>
                  </a:lnTo>
                  <a:lnTo>
                    <a:pt x="0" y="15"/>
                  </a:lnTo>
                  <a:lnTo>
                    <a:pt x="6" y="1"/>
                  </a:lnTo>
                  <a:close/>
                </a:path>
              </a:pathLst>
            </a:custGeom>
            <a:noFill/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" name="Google Shape;497;p19">
              <a:extLst>
                <a:ext uri="{FF2B5EF4-FFF2-40B4-BE49-F238E27FC236}">
                  <a16:creationId xmlns:a16="http://schemas.microsoft.com/office/drawing/2014/main" id="{0A7CF16C-932D-4876-9D39-DF04A9B6FF75}"/>
                </a:ext>
              </a:extLst>
            </p:cNvPr>
            <p:cNvSpPr/>
            <p:nvPr/>
          </p:nvSpPr>
          <p:spPr>
            <a:xfrm>
              <a:off x="3357" y="2102"/>
              <a:ext cx="11" cy="9"/>
            </a:xfrm>
            <a:custGeom>
              <a:avLst/>
              <a:gdLst/>
              <a:ahLst/>
              <a:cxnLst/>
              <a:rect l="l" t="t" r="r" b="b"/>
              <a:pathLst>
                <a:path w="37" h="38" extrusionOk="0">
                  <a:moveTo>
                    <a:pt x="6" y="1"/>
                  </a:moveTo>
                  <a:lnTo>
                    <a:pt x="29" y="0"/>
                  </a:lnTo>
                  <a:lnTo>
                    <a:pt x="36" y="8"/>
                  </a:lnTo>
                  <a:lnTo>
                    <a:pt x="37" y="17"/>
                  </a:lnTo>
                  <a:lnTo>
                    <a:pt x="30" y="34"/>
                  </a:lnTo>
                  <a:lnTo>
                    <a:pt x="8" y="38"/>
                  </a:lnTo>
                  <a:lnTo>
                    <a:pt x="2" y="30"/>
                  </a:lnTo>
                  <a:lnTo>
                    <a:pt x="0" y="15"/>
                  </a:lnTo>
                  <a:lnTo>
                    <a:pt x="6" y="1"/>
                  </a:lnTo>
                </a:path>
              </a:pathLst>
            </a:custGeom>
            <a:noFill/>
            <a:ln w="12700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" name="Google Shape;498;p19">
              <a:extLst>
                <a:ext uri="{FF2B5EF4-FFF2-40B4-BE49-F238E27FC236}">
                  <a16:creationId xmlns:a16="http://schemas.microsoft.com/office/drawing/2014/main" id="{967BDAC7-9CD2-45A3-90F8-9F416A2DC160}"/>
                </a:ext>
              </a:extLst>
            </p:cNvPr>
            <p:cNvSpPr/>
            <p:nvPr/>
          </p:nvSpPr>
          <p:spPr>
            <a:xfrm>
              <a:off x="3391" y="2110"/>
              <a:ext cx="15" cy="14"/>
            </a:xfrm>
            <a:custGeom>
              <a:avLst/>
              <a:gdLst/>
              <a:ahLst/>
              <a:cxnLst/>
              <a:rect l="l" t="t" r="r" b="b"/>
              <a:pathLst>
                <a:path w="52" h="49" extrusionOk="0">
                  <a:moveTo>
                    <a:pt x="8" y="1"/>
                  </a:moveTo>
                  <a:lnTo>
                    <a:pt x="38" y="0"/>
                  </a:lnTo>
                  <a:lnTo>
                    <a:pt x="42" y="3"/>
                  </a:lnTo>
                  <a:lnTo>
                    <a:pt x="52" y="20"/>
                  </a:lnTo>
                  <a:lnTo>
                    <a:pt x="41" y="46"/>
                  </a:lnTo>
                  <a:lnTo>
                    <a:pt x="24" y="49"/>
                  </a:lnTo>
                  <a:lnTo>
                    <a:pt x="7" y="37"/>
                  </a:lnTo>
                  <a:lnTo>
                    <a:pt x="0" y="25"/>
                  </a:lnTo>
                  <a:lnTo>
                    <a:pt x="8" y="1"/>
                  </a:lnTo>
                  <a:close/>
                </a:path>
              </a:pathLst>
            </a:custGeom>
            <a:noFill/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" name="Google Shape;499;p19">
              <a:extLst>
                <a:ext uri="{FF2B5EF4-FFF2-40B4-BE49-F238E27FC236}">
                  <a16:creationId xmlns:a16="http://schemas.microsoft.com/office/drawing/2014/main" id="{6D26B7A8-8BFB-40C1-BB08-9291AB97790C}"/>
                </a:ext>
              </a:extLst>
            </p:cNvPr>
            <p:cNvSpPr/>
            <p:nvPr/>
          </p:nvSpPr>
          <p:spPr>
            <a:xfrm>
              <a:off x="3391" y="2110"/>
              <a:ext cx="15" cy="14"/>
            </a:xfrm>
            <a:custGeom>
              <a:avLst/>
              <a:gdLst/>
              <a:ahLst/>
              <a:cxnLst/>
              <a:rect l="l" t="t" r="r" b="b"/>
              <a:pathLst>
                <a:path w="52" h="49" extrusionOk="0">
                  <a:moveTo>
                    <a:pt x="8" y="1"/>
                  </a:moveTo>
                  <a:lnTo>
                    <a:pt x="38" y="0"/>
                  </a:lnTo>
                  <a:lnTo>
                    <a:pt x="42" y="3"/>
                  </a:lnTo>
                  <a:lnTo>
                    <a:pt x="52" y="20"/>
                  </a:lnTo>
                  <a:lnTo>
                    <a:pt x="41" y="46"/>
                  </a:lnTo>
                  <a:lnTo>
                    <a:pt x="24" y="49"/>
                  </a:lnTo>
                  <a:lnTo>
                    <a:pt x="7" y="37"/>
                  </a:lnTo>
                  <a:lnTo>
                    <a:pt x="0" y="25"/>
                  </a:lnTo>
                  <a:lnTo>
                    <a:pt x="8" y="1"/>
                  </a:lnTo>
                </a:path>
              </a:pathLst>
            </a:custGeom>
            <a:solidFill>
              <a:srgbClr val="00FF00"/>
            </a:solidFill>
            <a:ln w="12700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" name="Google Shape;500;p19">
              <a:extLst>
                <a:ext uri="{FF2B5EF4-FFF2-40B4-BE49-F238E27FC236}">
                  <a16:creationId xmlns:a16="http://schemas.microsoft.com/office/drawing/2014/main" id="{F8FC4BCE-D6A9-47CD-85DC-7327640DA16E}"/>
                </a:ext>
              </a:extLst>
            </p:cNvPr>
            <p:cNvSpPr/>
            <p:nvPr/>
          </p:nvSpPr>
          <p:spPr>
            <a:xfrm>
              <a:off x="2784" y="1986"/>
              <a:ext cx="240" cy="67"/>
            </a:xfrm>
            <a:custGeom>
              <a:avLst/>
              <a:gdLst/>
              <a:ahLst/>
              <a:cxnLst/>
              <a:rect l="l" t="t" r="r" b="b"/>
              <a:pathLst>
                <a:path w="843" h="255" extrusionOk="0">
                  <a:moveTo>
                    <a:pt x="157" y="13"/>
                  </a:moveTo>
                  <a:lnTo>
                    <a:pt x="179" y="6"/>
                  </a:lnTo>
                  <a:lnTo>
                    <a:pt x="244" y="0"/>
                  </a:lnTo>
                  <a:lnTo>
                    <a:pt x="282" y="2"/>
                  </a:lnTo>
                  <a:lnTo>
                    <a:pt x="311" y="2"/>
                  </a:lnTo>
                  <a:lnTo>
                    <a:pt x="362" y="0"/>
                  </a:lnTo>
                  <a:lnTo>
                    <a:pt x="390" y="15"/>
                  </a:lnTo>
                  <a:lnTo>
                    <a:pt x="401" y="22"/>
                  </a:lnTo>
                  <a:lnTo>
                    <a:pt x="435" y="31"/>
                  </a:lnTo>
                  <a:lnTo>
                    <a:pt x="457" y="37"/>
                  </a:lnTo>
                  <a:lnTo>
                    <a:pt x="487" y="50"/>
                  </a:lnTo>
                  <a:lnTo>
                    <a:pt x="537" y="83"/>
                  </a:lnTo>
                  <a:lnTo>
                    <a:pt x="567" y="96"/>
                  </a:lnTo>
                  <a:lnTo>
                    <a:pt x="616" y="102"/>
                  </a:lnTo>
                  <a:lnTo>
                    <a:pt x="644" y="102"/>
                  </a:lnTo>
                  <a:lnTo>
                    <a:pt x="653" y="102"/>
                  </a:lnTo>
                  <a:lnTo>
                    <a:pt x="687" y="121"/>
                  </a:lnTo>
                  <a:lnTo>
                    <a:pt x="717" y="135"/>
                  </a:lnTo>
                  <a:lnTo>
                    <a:pt x="746" y="133"/>
                  </a:lnTo>
                  <a:lnTo>
                    <a:pt x="837" y="159"/>
                  </a:lnTo>
                  <a:lnTo>
                    <a:pt x="843" y="167"/>
                  </a:lnTo>
                  <a:lnTo>
                    <a:pt x="841" y="177"/>
                  </a:lnTo>
                  <a:lnTo>
                    <a:pt x="829" y="196"/>
                  </a:lnTo>
                  <a:lnTo>
                    <a:pt x="793" y="208"/>
                  </a:lnTo>
                  <a:lnTo>
                    <a:pt x="768" y="221"/>
                  </a:lnTo>
                  <a:lnTo>
                    <a:pt x="714" y="232"/>
                  </a:lnTo>
                  <a:lnTo>
                    <a:pt x="677" y="243"/>
                  </a:lnTo>
                  <a:lnTo>
                    <a:pt x="598" y="255"/>
                  </a:lnTo>
                  <a:lnTo>
                    <a:pt x="588" y="252"/>
                  </a:lnTo>
                  <a:lnTo>
                    <a:pt x="577" y="239"/>
                  </a:lnTo>
                  <a:lnTo>
                    <a:pt x="575" y="230"/>
                  </a:lnTo>
                  <a:lnTo>
                    <a:pt x="582" y="218"/>
                  </a:lnTo>
                  <a:lnTo>
                    <a:pt x="593" y="181"/>
                  </a:lnTo>
                  <a:lnTo>
                    <a:pt x="582" y="172"/>
                  </a:lnTo>
                  <a:lnTo>
                    <a:pt x="549" y="173"/>
                  </a:lnTo>
                  <a:lnTo>
                    <a:pt x="517" y="159"/>
                  </a:lnTo>
                  <a:lnTo>
                    <a:pt x="505" y="142"/>
                  </a:lnTo>
                  <a:lnTo>
                    <a:pt x="476" y="120"/>
                  </a:lnTo>
                  <a:lnTo>
                    <a:pt x="445" y="121"/>
                  </a:lnTo>
                  <a:lnTo>
                    <a:pt x="413" y="117"/>
                  </a:lnTo>
                  <a:lnTo>
                    <a:pt x="387" y="102"/>
                  </a:lnTo>
                  <a:lnTo>
                    <a:pt x="361" y="98"/>
                  </a:lnTo>
                  <a:lnTo>
                    <a:pt x="327" y="105"/>
                  </a:lnTo>
                  <a:lnTo>
                    <a:pt x="305" y="99"/>
                  </a:lnTo>
                  <a:lnTo>
                    <a:pt x="282" y="84"/>
                  </a:lnTo>
                  <a:lnTo>
                    <a:pt x="261" y="85"/>
                  </a:lnTo>
                  <a:lnTo>
                    <a:pt x="235" y="102"/>
                  </a:lnTo>
                  <a:lnTo>
                    <a:pt x="205" y="99"/>
                  </a:lnTo>
                  <a:lnTo>
                    <a:pt x="194" y="88"/>
                  </a:lnTo>
                  <a:lnTo>
                    <a:pt x="193" y="78"/>
                  </a:lnTo>
                  <a:lnTo>
                    <a:pt x="200" y="71"/>
                  </a:lnTo>
                  <a:lnTo>
                    <a:pt x="212" y="56"/>
                  </a:lnTo>
                  <a:lnTo>
                    <a:pt x="201" y="47"/>
                  </a:lnTo>
                  <a:lnTo>
                    <a:pt x="191" y="49"/>
                  </a:lnTo>
                  <a:lnTo>
                    <a:pt x="156" y="62"/>
                  </a:lnTo>
                  <a:lnTo>
                    <a:pt x="128" y="80"/>
                  </a:lnTo>
                  <a:lnTo>
                    <a:pt x="109" y="99"/>
                  </a:lnTo>
                  <a:lnTo>
                    <a:pt x="75" y="115"/>
                  </a:lnTo>
                  <a:lnTo>
                    <a:pt x="45" y="130"/>
                  </a:lnTo>
                  <a:lnTo>
                    <a:pt x="22" y="165"/>
                  </a:lnTo>
                  <a:lnTo>
                    <a:pt x="13" y="166"/>
                  </a:lnTo>
                  <a:lnTo>
                    <a:pt x="3" y="162"/>
                  </a:lnTo>
                  <a:lnTo>
                    <a:pt x="0" y="145"/>
                  </a:lnTo>
                  <a:lnTo>
                    <a:pt x="8" y="114"/>
                  </a:lnTo>
                  <a:lnTo>
                    <a:pt x="31" y="86"/>
                  </a:lnTo>
                  <a:lnTo>
                    <a:pt x="55" y="65"/>
                  </a:lnTo>
                  <a:lnTo>
                    <a:pt x="81" y="51"/>
                  </a:lnTo>
                  <a:lnTo>
                    <a:pt x="112" y="35"/>
                  </a:lnTo>
                  <a:lnTo>
                    <a:pt x="136" y="21"/>
                  </a:lnTo>
                  <a:lnTo>
                    <a:pt x="157" y="13"/>
                  </a:lnTo>
                  <a:close/>
                </a:path>
              </a:pathLst>
            </a:custGeom>
            <a:solidFill>
              <a:srgbClr val="00CC00"/>
            </a:solidFill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" name="Google Shape;501;p19">
              <a:extLst>
                <a:ext uri="{FF2B5EF4-FFF2-40B4-BE49-F238E27FC236}">
                  <a16:creationId xmlns:a16="http://schemas.microsoft.com/office/drawing/2014/main" id="{35EB2396-C518-4EF8-82A9-B168FF7CBA4F}"/>
                </a:ext>
              </a:extLst>
            </p:cNvPr>
            <p:cNvSpPr/>
            <p:nvPr/>
          </p:nvSpPr>
          <p:spPr>
            <a:xfrm>
              <a:off x="2784" y="1986"/>
              <a:ext cx="240" cy="67"/>
            </a:xfrm>
            <a:custGeom>
              <a:avLst/>
              <a:gdLst/>
              <a:ahLst/>
              <a:cxnLst/>
              <a:rect l="l" t="t" r="r" b="b"/>
              <a:pathLst>
                <a:path w="843" h="255" extrusionOk="0">
                  <a:moveTo>
                    <a:pt x="157" y="13"/>
                  </a:moveTo>
                  <a:lnTo>
                    <a:pt x="179" y="6"/>
                  </a:lnTo>
                  <a:lnTo>
                    <a:pt x="244" y="0"/>
                  </a:lnTo>
                  <a:lnTo>
                    <a:pt x="282" y="2"/>
                  </a:lnTo>
                  <a:lnTo>
                    <a:pt x="311" y="2"/>
                  </a:lnTo>
                  <a:lnTo>
                    <a:pt x="362" y="0"/>
                  </a:lnTo>
                  <a:lnTo>
                    <a:pt x="390" y="15"/>
                  </a:lnTo>
                  <a:lnTo>
                    <a:pt x="401" y="22"/>
                  </a:lnTo>
                  <a:lnTo>
                    <a:pt x="435" y="31"/>
                  </a:lnTo>
                  <a:lnTo>
                    <a:pt x="457" y="37"/>
                  </a:lnTo>
                  <a:lnTo>
                    <a:pt x="487" y="50"/>
                  </a:lnTo>
                  <a:lnTo>
                    <a:pt x="537" y="83"/>
                  </a:lnTo>
                  <a:lnTo>
                    <a:pt x="567" y="96"/>
                  </a:lnTo>
                  <a:lnTo>
                    <a:pt x="616" y="102"/>
                  </a:lnTo>
                  <a:lnTo>
                    <a:pt x="644" y="102"/>
                  </a:lnTo>
                  <a:lnTo>
                    <a:pt x="653" y="102"/>
                  </a:lnTo>
                  <a:lnTo>
                    <a:pt x="687" y="121"/>
                  </a:lnTo>
                  <a:lnTo>
                    <a:pt x="717" y="135"/>
                  </a:lnTo>
                  <a:lnTo>
                    <a:pt x="746" y="133"/>
                  </a:lnTo>
                  <a:lnTo>
                    <a:pt x="837" y="159"/>
                  </a:lnTo>
                  <a:lnTo>
                    <a:pt x="843" y="167"/>
                  </a:lnTo>
                  <a:lnTo>
                    <a:pt x="841" y="177"/>
                  </a:lnTo>
                  <a:lnTo>
                    <a:pt x="829" y="196"/>
                  </a:lnTo>
                  <a:lnTo>
                    <a:pt x="793" y="208"/>
                  </a:lnTo>
                  <a:lnTo>
                    <a:pt x="768" y="221"/>
                  </a:lnTo>
                  <a:lnTo>
                    <a:pt x="714" y="232"/>
                  </a:lnTo>
                  <a:lnTo>
                    <a:pt x="677" y="243"/>
                  </a:lnTo>
                  <a:lnTo>
                    <a:pt x="598" y="255"/>
                  </a:lnTo>
                  <a:lnTo>
                    <a:pt x="588" y="252"/>
                  </a:lnTo>
                  <a:lnTo>
                    <a:pt x="577" y="239"/>
                  </a:lnTo>
                  <a:lnTo>
                    <a:pt x="575" y="230"/>
                  </a:lnTo>
                  <a:lnTo>
                    <a:pt x="582" y="218"/>
                  </a:lnTo>
                  <a:lnTo>
                    <a:pt x="593" y="181"/>
                  </a:lnTo>
                  <a:lnTo>
                    <a:pt x="582" y="172"/>
                  </a:lnTo>
                  <a:lnTo>
                    <a:pt x="549" y="173"/>
                  </a:lnTo>
                  <a:lnTo>
                    <a:pt x="517" y="159"/>
                  </a:lnTo>
                  <a:lnTo>
                    <a:pt x="505" y="142"/>
                  </a:lnTo>
                  <a:lnTo>
                    <a:pt x="476" y="120"/>
                  </a:lnTo>
                  <a:lnTo>
                    <a:pt x="445" y="121"/>
                  </a:lnTo>
                  <a:lnTo>
                    <a:pt x="413" y="117"/>
                  </a:lnTo>
                  <a:lnTo>
                    <a:pt x="387" y="102"/>
                  </a:lnTo>
                  <a:lnTo>
                    <a:pt x="361" y="98"/>
                  </a:lnTo>
                  <a:lnTo>
                    <a:pt x="327" y="105"/>
                  </a:lnTo>
                  <a:lnTo>
                    <a:pt x="305" y="99"/>
                  </a:lnTo>
                  <a:lnTo>
                    <a:pt x="282" y="84"/>
                  </a:lnTo>
                  <a:lnTo>
                    <a:pt x="261" y="85"/>
                  </a:lnTo>
                  <a:lnTo>
                    <a:pt x="235" y="102"/>
                  </a:lnTo>
                  <a:lnTo>
                    <a:pt x="205" y="99"/>
                  </a:lnTo>
                  <a:lnTo>
                    <a:pt x="194" y="88"/>
                  </a:lnTo>
                  <a:lnTo>
                    <a:pt x="193" y="78"/>
                  </a:lnTo>
                  <a:lnTo>
                    <a:pt x="200" y="71"/>
                  </a:lnTo>
                  <a:lnTo>
                    <a:pt x="212" y="56"/>
                  </a:lnTo>
                  <a:lnTo>
                    <a:pt x="201" y="47"/>
                  </a:lnTo>
                  <a:lnTo>
                    <a:pt x="191" y="49"/>
                  </a:lnTo>
                  <a:lnTo>
                    <a:pt x="156" y="62"/>
                  </a:lnTo>
                  <a:lnTo>
                    <a:pt x="128" y="80"/>
                  </a:lnTo>
                  <a:lnTo>
                    <a:pt x="109" y="99"/>
                  </a:lnTo>
                  <a:lnTo>
                    <a:pt x="75" y="115"/>
                  </a:lnTo>
                  <a:lnTo>
                    <a:pt x="45" y="130"/>
                  </a:lnTo>
                  <a:lnTo>
                    <a:pt x="22" y="165"/>
                  </a:lnTo>
                  <a:lnTo>
                    <a:pt x="13" y="166"/>
                  </a:lnTo>
                  <a:lnTo>
                    <a:pt x="3" y="162"/>
                  </a:lnTo>
                  <a:lnTo>
                    <a:pt x="0" y="145"/>
                  </a:lnTo>
                  <a:lnTo>
                    <a:pt x="8" y="114"/>
                  </a:lnTo>
                  <a:lnTo>
                    <a:pt x="31" y="86"/>
                  </a:lnTo>
                  <a:lnTo>
                    <a:pt x="55" y="65"/>
                  </a:lnTo>
                  <a:lnTo>
                    <a:pt x="81" y="51"/>
                  </a:lnTo>
                  <a:lnTo>
                    <a:pt x="112" y="35"/>
                  </a:lnTo>
                  <a:lnTo>
                    <a:pt x="136" y="21"/>
                  </a:lnTo>
                  <a:lnTo>
                    <a:pt x="157" y="13"/>
                  </a:lnTo>
                </a:path>
              </a:pathLst>
            </a:custGeom>
            <a:solidFill>
              <a:srgbClr val="B9D9E9"/>
            </a:solidFill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" name="Google Shape;502;p19">
              <a:extLst>
                <a:ext uri="{FF2B5EF4-FFF2-40B4-BE49-F238E27FC236}">
                  <a16:creationId xmlns:a16="http://schemas.microsoft.com/office/drawing/2014/main" id="{A2C412DF-3AE2-4B26-9C6B-39499ADB73F9}"/>
                </a:ext>
              </a:extLst>
            </p:cNvPr>
            <p:cNvSpPr/>
            <p:nvPr/>
          </p:nvSpPr>
          <p:spPr>
            <a:xfrm>
              <a:off x="2826" y="2018"/>
              <a:ext cx="8" cy="11"/>
            </a:xfrm>
            <a:custGeom>
              <a:avLst/>
              <a:gdLst/>
              <a:ahLst/>
              <a:cxnLst/>
              <a:rect l="l" t="t" r="r" b="b"/>
              <a:pathLst>
                <a:path w="31" h="36" extrusionOk="0">
                  <a:moveTo>
                    <a:pt x="8" y="4"/>
                  </a:moveTo>
                  <a:lnTo>
                    <a:pt x="26" y="0"/>
                  </a:lnTo>
                  <a:lnTo>
                    <a:pt x="31" y="24"/>
                  </a:lnTo>
                  <a:lnTo>
                    <a:pt x="23" y="35"/>
                  </a:lnTo>
                  <a:lnTo>
                    <a:pt x="13" y="36"/>
                  </a:lnTo>
                  <a:lnTo>
                    <a:pt x="3" y="29"/>
                  </a:lnTo>
                  <a:lnTo>
                    <a:pt x="0" y="17"/>
                  </a:lnTo>
                  <a:lnTo>
                    <a:pt x="8" y="4"/>
                  </a:lnTo>
                  <a:close/>
                </a:path>
              </a:pathLst>
            </a:custGeom>
            <a:solidFill>
              <a:srgbClr val="00CC00"/>
            </a:solidFill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" name="Google Shape;503;p19">
              <a:extLst>
                <a:ext uri="{FF2B5EF4-FFF2-40B4-BE49-F238E27FC236}">
                  <a16:creationId xmlns:a16="http://schemas.microsoft.com/office/drawing/2014/main" id="{ACD145FD-6D71-4F21-BA63-725076A1D488}"/>
                </a:ext>
              </a:extLst>
            </p:cNvPr>
            <p:cNvSpPr/>
            <p:nvPr/>
          </p:nvSpPr>
          <p:spPr>
            <a:xfrm>
              <a:off x="2826" y="2018"/>
              <a:ext cx="8" cy="11"/>
            </a:xfrm>
            <a:custGeom>
              <a:avLst/>
              <a:gdLst/>
              <a:ahLst/>
              <a:cxnLst/>
              <a:rect l="l" t="t" r="r" b="b"/>
              <a:pathLst>
                <a:path w="31" h="36" extrusionOk="0">
                  <a:moveTo>
                    <a:pt x="8" y="4"/>
                  </a:moveTo>
                  <a:lnTo>
                    <a:pt x="26" y="0"/>
                  </a:lnTo>
                  <a:lnTo>
                    <a:pt x="31" y="24"/>
                  </a:lnTo>
                  <a:lnTo>
                    <a:pt x="23" y="35"/>
                  </a:lnTo>
                  <a:lnTo>
                    <a:pt x="13" y="36"/>
                  </a:lnTo>
                  <a:lnTo>
                    <a:pt x="3" y="29"/>
                  </a:lnTo>
                  <a:lnTo>
                    <a:pt x="0" y="17"/>
                  </a:lnTo>
                  <a:lnTo>
                    <a:pt x="8" y="4"/>
                  </a:lnTo>
                </a:path>
              </a:pathLst>
            </a:custGeom>
            <a:solidFill>
              <a:srgbClr val="00CC00"/>
            </a:solidFill>
            <a:ln w="12700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" name="Google Shape;504;p19">
              <a:extLst>
                <a:ext uri="{FF2B5EF4-FFF2-40B4-BE49-F238E27FC236}">
                  <a16:creationId xmlns:a16="http://schemas.microsoft.com/office/drawing/2014/main" id="{C3F9B2F0-F5DF-4BC5-BE03-6E5A827E0961}"/>
                </a:ext>
              </a:extLst>
            </p:cNvPr>
            <p:cNvSpPr/>
            <p:nvPr/>
          </p:nvSpPr>
          <p:spPr>
            <a:xfrm>
              <a:off x="2943" y="2081"/>
              <a:ext cx="42" cy="19"/>
            </a:xfrm>
            <a:custGeom>
              <a:avLst/>
              <a:gdLst/>
              <a:ahLst/>
              <a:cxnLst/>
              <a:rect l="l" t="t" r="r" b="b"/>
              <a:pathLst>
                <a:path w="146" h="73" extrusionOk="0">
                  <a:moveTo>
                    <a:pt x="37" y="51"/>
                  </a:moveTo>
                  <a:lnTo>
                    <a:pt x="6" y="37"/>
                  </a:lnTo>
                  <a:lnTo>
                    <a:pt x="1" y="33"/>
                  </a:lnTo>
                  <a:lnTo>
                    <a:pt x="0" y="28"/>
                  </a:lnTo>
                  <a:lnTo>
                    <a:pt x="28" y="7"/>
                  </a:lnTo>
                  <a:lnTo>
                    <a:pt x="43" y="5"/>
                  </a:lnTo>
                  <a:lnTo>
                    <a:pt x="102" y="0"/>
                  </a:lnTo>
                  <a:lnTo>
                    <a:pt x="132" y="7"/>
                  </a:lnTo>
                  <a:lnTo>
                    <a:pt x="146" y="29"/>
                  </a:lnTo>
                  <a:lnTo>
                    <a:pt x="130" y="51"/>
                  </a:lnTo>
                  <a:lnTo>
                    <a:pt x="121" y="58"/>
                  </a:lnTo>
                  <a:lnTo>
                    <a:pt x="96" y="73"/>
                  </a:lnTo>
                  <a:lnTo>
                    <a:pt x="81" y="65"/>
                  </a:lnTo>
                  <a:lnTo>
                    <a:pt x="37" y="51"/>
                  </a:lnTo>
                  <a:close/>
                </a:path>
              </a:pathLst>
            </a:custGeom>
            <a:noFill/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" name="Google Shape;505;p19">
              <a:extLst>
                <a:ext uri="{FF2B5EF4-FFF2-40B4-BE49-F238E27FC236}">
                  <a16:creationId xmlns:a16="http://schemas.microsoft.com/office/drawing/2014/main" id="{54A65634-B703-4A6A-8235-EFB9F11D1820}"/>
                </a:ext>
              </a:extLst>
            </p:cNvPr>
            <p:cNvSpPr/>
            <p:nvPr/>
          </p:nvSpPr>
          <p:spPr>
            <a:xfrm>
              <a:off x="2943" y="2081"/>
              <a:ext cx="42" cy="19"/>
            </a:xfrm>
            <a:custGeom>
              <a:avLst/>
              <a:gdLst/>
              <a:ahLst/>
              <a:cxnLst/>
              <a:rect l="l" t="t" r="r" b="b"/>
              <a:pathLst>
                <a:path w="146" h="73" extrusionOk="0">
                  <a:moveTo>
                    <a:pt x="37" y="51"/>
                  </a:moveTo>
                  <a:lnTo>
                    <a:pt x="6" y="37"/>
                  </a:lnTo>
                  <a:lnTo>
                    <a:pt x="1" y="33"/>
                  </a:lnTo>
                  <a:lnTo>
                    <a:pt x="0" y="28"/>
                  </a:lnTo>
                  <a:lnTo>
                    <a:pt x="28" y="7"/>
                  </a:lnTo>
                  <a:lnTo>
                    <a:pt x="43" y="5"/>
                  </a:lnTo>
                  <a:lnTo>
                    <a:pt x="102" y="0"/>
                  </a:lnTo>
                  <a:lnTo>
                    <a:pt x="132" y="7"/>
                  </a:lnTo>
                  <a:lnTo>
                    <a:pt x="146" y="29"/>
                  </a:lnTo>
                  <a:lnTo>
                    <a:pt x="130" y="51"/>
                  </a:lnTo>
                  <a:lnTo>
                    <a:pt x="121" y="58"/>
                  </a:lnTo>
                  <a:lnTo>
                    <a:pt x="96" y="73"/>
                  </a:lnTo>
                  <a:lnTo>
                    <a:pt x="81" y="65"/>
                  </a:lnTo>
                  <a:lnTo>
                    <a:pt x="37" y="51"/>
                  </a:lnTo>
                </a:path>
              </a:pathLst>
            </a:custGeom>
            <a:solidFill>
              <a:srgbClr val="B9D9E9"/>
            </a:solidFill>
            <a:ln w="12700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" name="Google Shape;506;p19">
              <a:extLst>
                <a:ext uri="{FF2B5EF4-FFF2-40B4-BE49-F238E27FC236}">
                  <a16:creationId xmlns:a16="http://schemas.microsoft.com/office/drawing/2014/main" id="{827F7B07-FD87-41B3-BF72-B1EB59334A38}"/>
                </a:ext>
              </a:extLst>
            </p:cNvPr>
            <p:cNvSpPr/>
            <p:nvPr/>
          </p:nvSpPr>
          <p:spPr>
            <a:xfrm>
              <a:off x="2924" y="1891"/>
              <a:ext cx="17" cy="12"/>
            </a:xfrm>
            <a:custGeom>
              <a:avLst/>
              <a:gdLst/>
              <a:ahLst/>
              <a:cxnLst/>
              <a:rect l="l" t="t" r="r" b="b"/>
              <a:pathLst>
                <a:path w="61" h="46" extrusionOk="0">
                  <a:moveTo>
                    <a:pt x="0" y="8"/>
                  </a:moveTo>
                  <a:lnTo>
                    <a:pt x="28" y="7"/>
                  </a:lnTo>
                  <a:lnTo>
                    <a:pt x="33" y="2"/>
                  </a:lnTo>
                  <a:lnTo>
                    <a:pt x="41" y="0"/>
                  </a:lnTo>
                  <a:lnTo>
                    <a:pt x="61" y="26"/>
                  </a:lnTo>
                  <a:lnTo>
                    <a:pt x="58" y="37"/>
                  </a:lnTo>
                  <a:lnTo>
                    <a:pt x="50" y="44"/>
                  </a:lnTo>
                  <a:lnTo>
                    <a:pt x="41" y="46"/>
                  </a:lnTo>
                  <a:lnTo>
                    <a:pt x="14" y="26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00CC00"/>
            </a:solidFill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" name="Google Shape;507;p19">
              <a:extLst>
                <a:ext uri="{FF2B5EF4-FFF2-40B4-BE49-F238E27FC236}">
                  <a16:creationId xmlns:a16="http://schemas.microsoft.com/office/drawing/2014/main" id="{32631836-84B7-42A0-9CB9-DD94DE6826C4}"/>
                </a:ext>
              </a:extLst>
            </p:cNvPr>
            <p:cNvSpPr/>
            <p:nvPr/>
          </p:nvSpPr>
          <p:spPr>
            <a:xfrm>
              <a:off x="2924" y="1891"/>
              <a:ext cx="17" cy="12"/>
            </a:xfrm>
            <a:custGeom>
              <a:avLst/>
              <a:gdLst/>
              <a:ahLst/>
              <a:cxnLst/>
              <a:rect l="l" t="t" r="r" b="b"/>
              <a:pathLst>
                <a:path w="61" h="46" extrusionOk="0">
                  <a:moveTo>
                    <a:pt x="0" y="8"/>
                  </a:moveTo>
                  <a:lnTo>
                    <a:pt x="28" y="7"/>
                  </a:lnTo>
                  <a:lnTo>
                    <a:pt x="33" y="2"/>
                  </a:lnTo>
                  <a:lnTo>
                    <a:pt x="41" y="0"/>
                  </a:lnTo>
                  <a:lnTo>
                    <a:pt x="61" y="26"/>
                  </a:lnTo>
                  <a:lnTo>
                    <a:pt x="58" y="37"/>
                  </a:lnTo>
                  <a:lnTo>
                    <a:pt x="50" y="44"/>
                  </a:lnTo>
                  <a:lnTo>
                    <a:pt x="41" y="46"/>
                  </a:lnTo>
                  <a:lnTo>
                    <a:pt x="14" y="26"/>
                  </a:lnTo>
                  <a:lnTo>
                    <a:pt x="0" y="8"/>
                  </a:lnTo>
                </a:path>
              </a:pathLst>
            </a:custGeom>
            <a:solidFill>
              <a:srgbClr val="B9D9E9"/>
            </a:solidFill>
            <a:ln w="12700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" name="Google Shape;508;p19">
              <a:extLst>
                <a:ext uri="{FF2B5EF4-FFF2-40B4-BE49-F238E27FC236}">
                  <a16:creationId xmlns:a16="http://schemas.microsoft.com/office/drawing/2014/main" id="{C7213225-FF63-4995-BFA6-BE1B93593318}"/>
                </a:ext>
              </a:extLst>
            </p:cNvPr>
            <p:cNvSpPr/>
            <p:nvPr/>
          </p:nvSpPr>
          <p:spPr>
            <a:xfrm>
              <a:off x="2948" y="1918"/>
              <a:ext cx="16" cy="8"/>
            </a:xfrm>
            <a:custGeom>
              <a:avLst/>
              <a:gdLst/>
              <a:ahLst/>
              <a:cxnLst/>
              <a:rect l="l" t="t" r="r" b="b"/>
              <a:pathLst>
                <a:path w="51" h="33" extrusionOk="0">
                  <a:moveTo>
                    <a:pt x="0" y="3"/>
                  </a:moveTo>
                  <a:lnTo>
                    <a:pt x="26" y="0"/>
                  </a:lnTo>
                  <a:lnTo>
                    <a:pt x="37" y="0"/>
                  </a:lnTo>
                  <a:lnTo>
                    <a:pt x="49" y="12"/>
                  </a:lnTo>
                  <a:lnTo>
                    <a:pt x="51" y="24"/>
                  </a:lnTo>
                  <a:lnTo>
                    <a:pt x="51" y="29"/>
                  </a:lnTo>
                  <a:lnTo>
                    <a:pt x="35" y="33"/>
                  </a:lnTo>
                  <a:lnTo>
                    <a:pt x="26" y="28"/>
                  </a:lnTo>
                  <a:lnTo>
                    <a:pt x="12" y="13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00CC00"/>
            </a:solidFill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" name="Google Shape;509;p19">
              <a:extLst>
                <a:ext uri="{FF2B5EF4-FFF2-40B4-BE49-F238E27FC236}">
                  <a16:creationId xmlns:a16="http://schemas.microsoft.com/office/drawing/2014/main" id="{E932E35F-7DF9-45E4-B70E-AD4734469699}"/>
                </a:ext>
              </a:extLst>
            </p:cNvPr>
            <p:cNvSpPr/>
            <p:nvPr/>
          </p:nvSpPr>
          <p:spPr>
            <a:xfrm>
              <a:off x="2948" y="1918"/>
              <a:ext cx="16" cy="8"/>
            </a:xfrm>
            <a:custGeom>
              <a:avLst/>
              <a:gdLst/>
              <a:ahLst/>
              <a:cxnLst/>
              <a:rect l="l" t="t" r="r" b="b"/>
              <a:pathLst>
                <a:path w="51" h="33" extrusionOk="0">
                  <a:moveTo>
                    <a:pt x="0" y="3"/>
                  </a:moveTo>
                  <a:lnTo>
                    <a:pt x="26" y="0"/>
                  </a:lnTo>
                  <a:lnTo>
                    <a:pt x="37" y="0"/>
                  </a:lnTo>
                  <a:lnTo>
                    <a:pt x="49" y="12"/>
                  </a:lnTo>
                  <a:lnTo>
                    <a:pt x="51" y="24"/>
                  </a:lnTo>
                  <a:lnTo>
                    <a:pt x="51" y="29"/>
                  </a:lnTo>
                  <a:lnTo>
                    <a:pt x="35" y="33"/>
                  </a:lnTo>
                  <a:lnTo>
                    <a:pt x="26" y="28"/>
                  </a:lnTo>
                  <a:lnTo>
                    <a:pt x="12" y="13"/>
                  </a:lnTo>
                  <a:lnTo>
                    <a:pt x="0" y="3"/>
                  </a:lnTo>
                </a:path>
              </a:pathLst>
            </a:custGeom>
            <a:solidFill>
              <a:srgbClr val="00CC00"/>
            </a:solidFill>
            <a:ln w="12700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" name="Google Shape;510;p19">
              <a:extLst>
                <a:ext uri="{FF2B5EF4-FFF2-40B4-BE49-F238E27FC236}">
                  <a16:creationId xmlns:a16="http://schemas.microsoft.com/office/drawing/2014/main" id="{B1B75057-DA4A-4CD6-BCFD-E2DB8B29D690}"/>
                </a:ext>
              </a:extLst>
            </p:cNvPr>
            <p:cNvSpPr/>
            <p:nvPr/>
          </p:nvSpPr>
          <p:spPr>
            <a:xfrm>
              <a:off x="2932" y="1953"/>
              <a:ext cx="9" cy="12"/>
            </a:xfrm>
            <a:custGeom>
              <a:avLst/>
              <a:gdLst/>
              <a:ahLst/>
              <a:cxnLst/>
              <a:rect l="l" t="t" r="r" b="b"/>
              <a:pathLst>
                <a:path w="29" h="44" extrusionOk="0">
                  <a:moveTo>
                    <a:pt x="5" y="0"/>
                  </a:moveTo>
                  <a:lnTo>
                    <a:pt x="0" y="10"/>
                  </a:lnTo>
                  <a:lnTo>
                    <a:pt x="0" y="22"/>
                  </a:lnTo>
                  <a:lnTo>
                    <a:pt x="6" y="41"/>
                  </a:lnTo>
                  <a:lnTo>
                    <a:pt x="15" y="44"/>
                  </a:lnTo>
                  <a:lnTo>
                    <a:pt x="27" y="42"/>
                  </a:lnTo>
                  <a:lnTo>
                    <a:pt x="29" y="38"/>
                  </a:lnTo>
                  <a:lnTo>
                    <a:pt x="25" y="15"/>
                  </a:lnTo>
                  <a:lnTo>
                    <a:pt x="17" y="4"/>
                  </a:lnTo>
                  <a:lnTo>
                    <a:pt x="13" y="3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B9D9E9"/>
            </a:solidFill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" name="Google Shape;511;p19">
              <a:extLst>
                <a:ext uri="{FF2B5EF4-FFF2-40B4-BE49-F238E27FC236}">
                  <a16:creationId xmlns:a16="http://schemas.microsoft.com/office/drawing/2014/main" id="{13306BD8-30CD-4232-B40F-F9E5B4D5D758}"/>
                </a:ext>
              </a:extLst>
            </p:cNvPr>
            <p:cNvSpPr/>
            <p:nvPr/>
          </p:nvSpPr>
          <p:spPr>
            <a:xfrm>
              <a:off x="2932" y="1953"/>
              <a:ext cx="9" cy="12"/>
            </a:xfrm>
            <a:custGeom>
              <a:avLst/>
              <a:gdLst/>
              <a:ahLst/>
              <a:cxnLst/>
              <a:rect l="l" t="t" r="r" b="b"/>
              <a:pathLst>
                <a:path w="29" h="44" extrusionOk="0">
                  <a:moveTo>
                    <a:pt x="5" y="0"/>
                  </a:moveTo>
                  <a:lnTo>
                    <a:pt x="0" y="10"/>
                  </a:lnTo>
                  <a:lnTo>
                    <a:pt x="0" y="22"/>
                  </a:lnTo>
                  <a:lnTo>
                    <a:pt x="6" y="41"/>
                  </a:lnTo>
                  <a:lnTo>
                    <a:pt x="15" y="44"/>
                  </a:lnTo>
                  <a:lnTo>
                    <a:pt x="27" y="42"/>
                  </a:lnTo>
                  <a:lnTo>
                    <a:pt x="29" y="38"/>
                  </a:lnTo>
                  <a:lnTo>
                    <a:pt x="25" y="15"/>
                  </a:lnTo>
                  <a:lnTo>
                    <a:pt x="17" y="4"/>
                  </a:lnTo>
                  <a:lnTo>
                    <a:pt x="13" y="3"/>
                  </a:lnTo>
                  <a:lnTo>
                    <a:pt x="5" y="0"/>
                  </a:lnTo>
                </a:path>
              </a:pathLst>
            </a:custGeom>
            <a:solidFill>
              <a:srgbClr val="00CC00"/>
            </a:solidFill>
            <a:ln w="12700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" name="Google Shape;512;p19">
              <a:extLst>
                <a:ext uri="{FF2B5EF4-FFF2-40B4-BE49-F238E27FC236}">
                  <a16:creationId xmlns:a16="http://schemas.microsoft.com/office/drawing/2014/main" id="{E301E91F-FA13-447F-B923-B3F3028F31A5}"/>
                </a:ext>
              </a:extLst>
            </p:cNvPr>
            <p:cNvSpPr/>
            <p:nvPr/>
          </p:nvSpPr>
          <p:spPr>
            <a:xfrm>
              <a:off x="2916" y="1934"/>
              <a:ext cx="14" cy="20"/>
            </a:xfrm>
            <a:custGeom>
              <a:avLst/>
              <a:gdLst/>
              <a:ahLst/>
              <a:cxnLst/>
              <a:rect l="l" t="t" r="r" b="b"/>
              <a:pathLst>
                <a:path w="50" h="76" extrusionOk="0">
                  <a:moveTo>
                    <a:pt x="11" y="0"/>
                  </a:moveTo>
                  <a:lnTo>
                    <a:pt x="19" y="2"/>
                  </a:lnTo>
                  <a:lnTo>
                    <a:pt x="26" y="11"/>
                  </a:lnTo>
                  <a:lnTo>
                    <a:pt x="42" y="22"/>
                  </a:lnTo>
                  <a:lnTo>
                    <a:pt x="50" y="38"/>
                  </a:lnTo>
                  <a:lnTo>
                    <a:pt x="40" y="51"/>
                  </a:lnTo>
                  <a:lnTo>
                    <a:pt x="39" y="68"/>
                  </a:lnTo>
                  <a:lnTo>
                    <a:pt x="34" y="74"/>
                  </a:lnTo>
                  <a:lnTo>
                    <a:pt x="28" y="75"/>
                  </a:lnTo>
                  <a:lnTo>
                    <a:pt x="20" y="76"/>
                  </a:lnTo>
                  <a:lnTo>
                    <a:pt x="12" y="67"/>
                  </a:lnTo>
                  <a:lnTo>
                    <a:pt x="4" y="50"/>
                  </a:lnTo>
                  <a:lnTo>
                    <a:pt x="0" y="27"/>
                  </a:lnTo>
                  <a:lnTo>
                    <a:pt x="11" y="0"/>
                  </a:lnTo>
                  <a:close/>
                </a:path>
              </a:pathLst>
            </a:custGeom>
            <a:solidFill>
              <a:srgbClr val="00CC00"/>
            </a:solidFill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" name="Google Shape;513;p19">
              <a:extLst>
                <a:ext uri="{FF2B5EF4-FFF2-40B4-BE49-F238E27FC236}">
                  <a16:creationId xmlns:a16="http://schemas.microsoft.com/office/drawing/2014/main" id="{6BA67C59-A422-45A6-8C1A-0A948D3F149E}"/>
                </a:ext>
              </a:extLst>
            </p:cNvPr>
            <p:cNvSpPr/>
            <p:nvPr/>
          </p:nvSpPr>
          <p:spPr>
            <a:xfrm>
              <a:off x="2916" y="1934"/>
              <a:ext cx="14" cy="20"/>
            </a:xfrm>
            <a:custGeom>
              <a:avLst/>
              <a:gdLst/>
              <a:ahLst/>
              <a:cxnLst/>
              <a:rect l="l" t="t" r="r" b="b"/>
              <a:pathLst>
                <a:path w="50" h="76" extrusionOk="0">
                  <a:moveTo>
                    <a:pt x="11" y="0"/>
                  </a:moveTo>
                  <a:lnTo>
                    <a:pt x="19" y="2"/>
                  </a:lnTo>
                  <a:lnTo>
                    <a:pt x="26" y="11"/>
                  </a:lnTo>
                  <a:lnTo>
                    <a:pt x="42" y="22"/>
                  </a:lnTo>
                  <a:lnTo>
                    <a:pt x="50" y="38"/>
                  </a:lnTo>
                  <a:lnTo>
                    <a:pt x="40" y="51"/>
                  </a:lnTo>
                  <a:lnTo>
                    <a:pt x="39" y="68"/>
                  </a:lnTo>
                  <a:lnTo>
                    <a:pt x="34" y="74"/>
                  </a:lnTo>
                  <a:lnTo>
                    <a:pt x="28" y="75"/>
                  </a:lnTo>
                  <a:lnTo>
                    <a:pt x="20" y="76"/>
                  </a:lnTo>
                  <a:lnTo>
                    <a:pt x="12" y="67"/>
                  </a:lnTo>
                  <a:lnTo>
                    <a:pt x="4" y="50"/>
                  </a:lnTo>
                  <a:lnTo>
                    <a:pt x="0" y="27"/>
                  </a:lnTo>
                  <a:lnTo>
                    <a:pt x="11" y="0"/>
                  </a:lnTo>
                </a:path>
              </a:pathLst>
            </a:custGeom>
            <a:solidFill>
              <a:srgbClr val="B9D9E9"/>
            </a:solidFill>
            <a:ln w="12700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" name="Google Shape;514;p19">
              <a:extLst>
                <a:ext uri="{FF2B5EF4-FFF2-40B4-BE49-F238E27FC236}">
                  <a16:creationId xmlns:a16="http://schemas.microsoft.com/office/drawing/2014/main" id="{8F8C44BC-5CC2-4345-948F-0472A67255E4}"/>
                </a:ext>
              </a:extLst>
            </p:cNvPr>
            <p:cNvSpPr/>
            <p:nvPr/>
          </p:nvSpPr>
          <p:spPr>
            <a:xfrm>
              <a:off x="3038" y="2005"/>
              <a:ext cx="16" cy="13"/>
            </a:xfrm>
            <a:custGeom>
              <a:avLst/>
              <a:gdLst/>
              <a:ahLst/>
              <a:cxnLst/>
              <a:rect l="l" t="t" r="r" b="b"/>
              <a:pathLst>
                <a:path w="58" h="46" extrusionOk="0">
                  <a:moveTo>
                    <a:pt x="10" y="20"/>
                  </a:moveTo>
                  <a:lnTo>
                    <a:pt x="25" y="7"/>
                  </a:lnTo>
                  <a:lnTo>
                    <a:pt x="46" y="3"/>
                  </a:lnTo>
                  <a:lnTo>
                    <a:pt x="51" y="0"/>
                  </a:lnTo>
                  <a:lnTo>
                    <a:pt x="58" y="3"/>
                  </a:lnTo>
                  <a:lnTo>
                    <a:pt x="54" y="31"/>
                  </a:lnTo>
                  <a:lnTo>
                    <a:pt x="47" y="38"/>
                  </a:lnTo>
                  <a:lnTo>
                    <a:pt x="19" y="44"/>
                  </a:lnTo>
                  <a:lnTo>
                    <a:pt x="3" y="46"/>
                  </a:lnTo>
                  <a:lnTo>
                    <a:pt x="0" y="29"/>
                  </a:lnTo>
                  <a:lnTo>
                    <a:pt x="10" y="20"/>
                  </a:lnTo>
                  <a:close/>
                </a:path>
              </a:pathLst>
            </a:custGeom>
            <a:solidFill>
              <a:srgbClr val="00CC00"/>
            </a:solidFill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" name="Google Shape;515;p19">
              <a:extLst>
                <a:ext uri="{FF2B5EF4-FFF2-40B4-BE49-F238E27FC236}">
                  <a16:creationId xmlns:a16="http://schemas.microsoft.com/office/drawing/2014/main" id="{8657BD7C-10B7-46CF-B949-D47E7C8907E9}"/>
                </a:ext>
              </a:extLst>
            </p:cNvPr>
            <p:cNvSpPr/>
            <p:nvPr/>
          </p:nvSpPr>
          <p:spPr>
            <a:xfrm>
              <a:off x="3038" y="2005"/>
              <a:ext cx="16" cy="13"/>
            </a:xfrm>
            <a:custGeom>
              <a:avLst/>
              <a:gdLst/>
              <a:ahLst/>
              <a:cxnLst/>
              <a:rect l="l" t="t" r="r" b="b"/>
              <a:pathLst>
                <a:path w="58" h="46" extrusionOk="0">
                  <a:moveTo>
                    <a:pt x="10" y="20"/>
                  </a:moveTo>
                  <a:lnTo>
                    <a:pt x="25" y="7"/>
                  </a:lnTo>
                  <a:lnTo>
                    <a:pt x="46" y="3"/>
                  </a:lnTo>
                  <a:lnTo>
                    <a:pt x="51" y="0"/>
                  </a:lnTo>
                  <a:lnTo>
                    <a:pt x="58" y="3"/>
                  </a:lnTo>
                  <a:lnTo>
                    <a:pt x="54" y="31"/>
                  </a:lnTo>
                  <a:lnTo>
                    <a:pt x="47" y="38"/>
                  </a:lnTo>
                  <a:lnTo>
                    <a:pt x="19" y="44"/>
                  </a:lnTo>
                  <a:lnTo>
                    <a:pt x="3" y="46"/>
                  </a:lnTo>
                  <a:lnTo>
                    <a:pt x="0" y="29"/>
                  </a:lnTo>
                  <a:lnTo>
                    <a:pt x="10" y="20"/>
                  </a:lnTo>
                </a:path>
              </a:pathLst>
            </a:custGeom>
            <a:solidFill>
              <a:srgbClr val="00CC00"/>
            </a:solidFill>
            <a:ln w="12700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3" name="Google Shape;516;p19">
              <a:extLst>
                <a:ext uri="{FF2B5EF4-FFF2-40B4-BE49-F238E27FC236}">
                  <a16:creationId xmlns:a16="http://schemas.microsoft.com/office/drawing/2014/main" id="{21FD222A-0C96-4488-9ADA-C0074B06F687}"/>
                </a:ext>
              </a:extLst>
            </p:cNvPr>
            <p:cNvSpPr/>
            <p:nvPr/>
          </p:nvSpPr>
          <p:spPr>
            <a:xfrm>
              <a:off x="3191" y="2029"/>
              <a:ext cx="44" cy="21"/>
            </a:xfrm>
            <a:custGeom>
              <a:avLst/>
              <a:gdLst/>
              <a:ahLst/>
              <a:cxnLst/>
              <a:rect l="l" t="t" r="r" b="b"/>
              <a:pathLst>
                <a:path w="156" h="79" extrusionOk="0">
                  <a:moveTo>
                    <a:pt x="20" y="17"/>
                  </a:moveTo>
                  <a:lnTo>
                    <a:pt x="45" y="14"/>
                  </a:lnTo>
                  <a:lnTo>
                    <a:pt x="108" y="2"/>
                  </a:lnTo>
                  <a:lnTo>
                    <a:pt x="147" y="0"/>
                  </a:lnTo>
                  <a:lnTo>
                    <a:pt x="153" y="3"/>
                  </a:lnTo>
                  <a:lnTo>
                    <a:pt x="156" y="22"/>
                  </a:lnTo>
                  <a:lnTo>
                    <a:pt x="148" y="33"/>
                  </a:lnTo>
                  <a:lnTo>
                    <a:pt x="124" y="54"/>
                  </a:lnTo>
                  <a:lnTo>
                    <a:pt x="21" y="79"/>
                  </a:lnTo>
                  <a:lnTo>
                    <a:pt x="15" y="75"/>
                  </a:lnTo>
                  <a:lnTo>
                    <a:pt x="0" y="47"/>
                  </a:lnTo>
                  <a:lnTo>
                    <a:pt x="5" y="22"/>
                  </a:lnTo>
                  <a:lnTo>
                    <a:pt x="20" y="17"/>
                  </a:lnTo>
                  <a:close/>
                </a:path>
              </a:pathLst>
            </a:custGeom>
            <a:solidFill>
              <a:srgbClr val="00CC00"/>
            </a:solidFill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4" name="Google Shape;517;p19">
              <a:extLst>
                <a:ext uri="{FF2B5EF4-FFF2-40B4-BE49-F238E27FC236}">
                  <a16:creationId xmlns:a16="http://schemas.microsoft.com/office/drawing/2014/main" id="{3E95B00A-6F32-4DB2-993D-4A64BB509159}"/>
                </a:ext>
              </a:extLst>
            </p:cNvPr>
            <p:cNvSpPr/>
            <p:nvPr/>
          </p:nvSpPr>
          <p:spPr>
            <a:xfrm>
              <a:off x="3191" y="2029"/>
              <a:ext cx="44" cy="21"/>
            </a:xfrm>
            <a:custGeom>
              <a:avLst/>
              <a:gdLst/>
              <a:ahLst/>
              <a:cxnLst/>
              <a:rect l="l" t="t" r="r" b="b"/>
              <a:pathLst>
                <a:path w="156" h="79" extrusionOk="0">
                  <a:moveTo>
                    <a:pt x="20" y="17"/>
                  </a:moveTo>
                  <a:lnTo>
                    <a:pt x="45" y="14"/>
                  </a:lnTo>
                  <a:lnTo>
                    <a:pt x="108" y="2"/>
                  </a:lnTo>
                  <a:lnTo>
                    <a:pt x="147" y="0"/>
                  </a:lnTo>
                  <a:lnTo>
                    <a:pt x="153" y="3"/>
                  </a:lnTo>
                  <a:lnTo>
                    <a:pt x="156" y="22"/>
                  </a:lnTo>
                  <a:lnTo>
                    <a:pt x="148" y="33"/>
                  </a:lnTo>
                  <a:lnTo>
                    <a:pt x="124" y="54"/>
                  </a:lnTo>
                  <a:lnTo>
                    <a:pt x="21" y="79"/>
                  </a:lnTo>
                  <a:lnTo>
                    <a:pt x="15" y="75"/>
                  </a:lnTo>
                  <a:lnTo>
                    <a:pt x="0" y="47"/>
                  </a:lnTo>
                  <a:lnTo>
                    <a:pt x="5" y="22"/>
                  </a:lnTo>
                  <a:lnTo>
                    <a:pt x="20" y="17"/>
                  </a:lnTo>
                </a:path>
              </a:pathLst>
            </a:custGeom>
            <a:solidFill>
              <a:srgbClr val="B9D9E9"/>
            </a:solidFill>
            <a:ln w="12700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5" name="Google Shape;518;p19">
              <a:extLst>
                <a:ext uri="{FF2B5EF4-FFF2-40B4-BE49-F238E27FC236}">
                  <a16:creationId xmlns:a16="http://schemas.microsoft.com/office/drawing/2014/main" id="{B7C5A947-7CFA-4728-B2DC-068509F6721C}"/>
                </a:ext>
              </a:extLst>
            </p:cNvPr>
            <p:cNvSpPr/>
            <p:nvPr/>
          </p:nvSpPr>
          <p:spPr>
            <a:xfrm>
              <a:off x="2689" y="2115"/>
              <a:ext cx="31" cy="54"/>
            </a:xfrm>
            <a:custGeom>
              <a:avLst/>
              <a:gdLst/>
              <a:ahLst/>
              <a:cxnLst/>
              <a:rect l="l" t="t" r="r" b="b"/>
              <a:pathLst>
                <a:path w="109" h="209" extrusionOk="0">
                  <a:moveTo>
                    <a:pt x="86" y="194"/>
                  </a:moveTo>
                  <a:lnTo>
                    <a:pt x="93" y="177"/>
                  </a:lnTo>
                  <a:lnTo>
                    <a:pt x="109" y="160"/>
                  </a:lnTo>
                  <a:lnTo>
                    <a:pt x="109" y="128"/>
                  </a:lnTo>
                  <a:lnTo>
                    <a:pt x="96" y="44"/>
                  </a:lnTo>
                  <a:lnTo>
                    <a:pt x="93" y="5"/>
                  </a:lnTo>
                  <a:lnTo>
                    <a:pt x="74" y="0"/>
                  </a:lnTo>
                  <a:lnTo>
                    <a:pt x="61" y="8"/>
                  </a:lnTo>
                  <a:lnTo>
                    <a:pt x="44" y="37"/>
                  </a:lnTo>
                  <a:lnTo>
                    <a:pt x="0" y="42"/>
                  </a:lnTo>
                  <a:lnTo>
                    <a:pt x="15" y="116"/>
                  </a:lnTo>
                  <a:lnTo>
                    <a:pt x="32" y="203"/>
                  </a:lnTo>
                  <a:lnTo>
                    <a:pt x="34" y="209"/>
                  </a:lnTo>
                  <a:lnTo>
                    <a:pt x="57" y="206"/>
                  </a:lnTo>
                  <a:lnTo>
                    <a:pt x="70" y="192"/>
                  </a:lnTo>
                  <a:lnTo>
                    <a:pt x="86" y="194"/>
                  </a:lnTo>
                  <a:close/>
                </a:path>
              </a:pathLst>
            </a:custGeom>
            <a:noFill/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6" name="Google Shape;519;p19">
              <a:extLst>
                <a:ext uri="{FF2B5EF4-FFF2-40B4-BE49-F238E27FC236}">
                  <a16:creationId xmlns:a16="http://schemas.microsoft.com/office/drawing/2014/main" id="{A7D55C11-A911-4301-A1C9-61A6F0A3C591}"/>
                </a:ext>
              </a:extLst>
            </p:cNvPr>
            <p:cNvSpPr/>
            <p:nvPr/>
          </p:nvSpPr>
          <p:spPr>
            <a:xfrm>
              <a:off x="2689" y="2115"/>
              <a:ext cx="31" cy="54"/>
            </a:xfrm>
            <a:custGeom>
              <a:avLst/>
              <a:gdLst/>
              <a:ahLst/>
              <a:cxnLst/>
              <a:rect l="l" t="t" r="r" b="b"/>
              <a:pathLst>
                <a:path w="109" h="209" extrusionOk="0">
                  <a:moveTo>
                    <a:pt x="86" y="194"/>
                  </a:moveTo>
                  <a:lnTo>
                    <a:pt x="93" y="177"/>
                  </a:lnTo>
                  <a:lnTo>
                    <a:pt x="109" y="160"/>
                  </a:lnTo>
                  <a:lnTo>
                    <a:pt x="109" y="128"/>
                  </a:lnTo>
                  <a:lnTo>
                    <a:pt x="96" y="44"/>
                  </a:lnTo>
                  <a:lnTo>
                    <a:pt x="93" y="5"/>
                  </a:lnTo>
                  <a:lnTo>
                    <a:pt x="74" y="0"/>
                  </a:lnTo>
                  <a:lnTo>
                    <a:pt x="61" y="8"/>
                  </a:lnTo>
                  <a:lnTo>
                    <a:pt x="44" y="37"/>
                  </a:lnTo>
                  <a:lnTo>
                    <a:pt x="0" y="42"/>
                  </a:lnTo>
                  <a:lnTo>
                    <a:pt x="15" y="116"/>
                  </a:lnTo>
                  <a:lnTo>
                    <a:pt x="32" y="203"/>
                  </a:lnTo>
                  <a:lnTo>
                    <a:pt x="34" y="209"/>
                  </a:lnTo>
                  <a:lnTo>
                    <a:pt x="57" y="206"/>
                  </a:lnTo>
                  <a:lnTo>
                    <a:pt x="70" y="192"/>
                  </a:lnTo>
                  <a:lnTo>
                    <a:pt x="86" y="194"/>
                  </a:lnTo>
                </a:path>
              </a:pathLst>
            </a:custGeom>
            <a:solidFill>
              <a:srgbClr val="B9D9E9"/>
            </a:solidFill>
            <a:ln w="12700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" name="Google Shape;520;p19">
              <a:extLst>
                <a:ext uri="{FF2B5EF4-FFF2-40B4-BE49-F238E27FC236}">
                  <a16:creationId xmlns:a16="http://schemas.microsoft.com/office/drawing/2014/main" id="{A43D170C-0732-4B4A-B2A6-55E2AC485B91}"/>
                </a:ext>
              </a:extLst>
            </p:cNvPr>
            <p:cNvSpPr/>
            <p:nvPr/>
          </p:nvSpPr>
          <p:spPr>
            <a:xfrm>
              <a:off x="2627" y="2126"/>
              <a:ext cx="99" cy="92"/>
            </a:xfrm>
            <a:custGeom>
              <a:avLst/>
              <a:gdLst/>
              <a:ahLst/>
              <a:cxnLst/>
              <a:rect l="l" t="t" r="r" b="b"/>
              <a:pathLst>
                <a:path w="349" h="350" extrusionOk="0">
                  <a:moveTo>
                    <a:pt x="219" y="0"/>
                  </a:moveTo>
                  <a:lnTo>
                    <a:pt x="145" y="13"/>
                  </a:lnTo>
                  <a:lnTo>
                    <a:pt x="97" y="25"/>
                  </a:lnTo>
                  <a:lnTo>
                    <a:pt x="103" y="57"/>
                  </a:lnTo>
                  <a:lnTo>
                    <a:pt x="112" y="83"/>
                  </a:lnTo>
                  <a:lnTo>
                    <a:pt x="122" y="101"/>
                  </a:lnTo>
                  <a:lnTo>
                    <a:pt x="142" y="115"/>
                  </a:lnTo>
                  <a:lnTo>
                    <a:pt x="160" y="119"/>
                  </a:lnTo>
                  <a:lnTo>
                    <a:pt x="155" y="130"/>
                  </a:lnTo>
                  <a:lnTo>
                    <a:pt x="140" y="146"/>
                  </a:lnTo>
                  <a:lnTo>
                    <a:pt x="138" y="171"/>
                  </a:lnTo>
                  <a:lnTo>
                    <a:pt x="126" y="177"/>
                  </a:lnTo>
                  <a:lnTo>
                    <a:pt x="18" y="190"/>
                  </a:lnTo>
                  <a:lnTo>
                    <a:pt x="4" y="202"/>
                  </a:lnTo>
                  <a:lnTo>
                    <a:pt x="0" y="226"/>
                  </a:lnTo>
                  <a:lnTo>
                    <a:pt x="3" y="245"/>
                  </a:lnTo>
                  <a:lnTo>
                    <a:pt x="11" y="266"/>
                  </a:lnTo>
                  <a:lnTo>
                    <a:pt x="5" y="297"/>
                  </a:lnTo>
                  <a:lnTo>
                    <a:pt x="55" y="323"/>
                  </a:lnTo>
                  <a:lnTo>
                    <a:pt x="91" y="335"/>
                  </a:lnTo>
                  <a:lnTo>
                    <a:pt x="132" y="339"/>
                  </a:lnTo>
                  <a:lnTo>
                    <a:pt x="191" y="350"/>
                  </a:lnTo>
                  <a:lnTo>
                    <a:pt x="197" y="335"/>
                  </a:lnTo>
                  <a:lnTo>
                    <a:pt x="208" y="323"/>
                  </a:lnTo>
                  <a:lnTo>
                    <a:pt x="221" y="315"/>
                  </a:lnTo>
                  <a:lnTo>
                    <a:pt x="239" y="308"/>
                  </a:lnTo>
                  <a:lnTo>
                    <a:pt x="259" y="299"/>
                  </a:lnTo>
                  <a:lnTo>
                    <a:pt x="270" y="288"/>
                  </a:lnTo>
                  <a:lnTo>
                    <a:pt x="265" y="240"/>
                  </a:lnTo>
                  <a:lnTo>
                    <a:pt x="281" y="212"/>
                  </a:lnTo>
                  <a:lnTo>
                    <a:pt x="306" y="197"/>
                  </a:lnTo>
                  <a:lnTo>
                    <a:pt x="342" y="182"/>
                  </a:lnTo>
                  <a:lnTo>
                    <a:pt x="349" y="167"/>
                  </a:lnTo>
                  <a:lnTo>
                    <a:pt x="325" y="166"/>
                  </a:lnTo>
                  <a:lnTo>
                    <a:pt x="305" y="152"/>
                  </a:lnTo>
                  <a:lnTo>
                    <a:pt x="290" y="149"/>
                  </a:lnTo>
                  <a:lnTo>
                    <a:pt x="277" y="164"/>
                  </a:lnTo>
                  <a:lnTo>
                    <a:pt x="253" y="167"/>
                  </a:lnTo>
                  <a:lnTo>
                    <a:pt x="250" y="160"/>
                  </a:lnTo>
                  <a:lnTo>
                    <a:pt x="234" y="74"/>
                  </a:lnTo>
                  <a:lnTo>
                    <a:pt x="219" y="0"/>
                  </a:lnTo>
                  <a:close/>
                </a:path>
              </a:pathLst>
            </a:custGeom>
            <a:noFill/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" name="Google Shape;521;p19">
              <a:extLst>
                <a:ext uri="{FF2B5EF4-FFF2-40B4-BE49-F238E27FC236}">
                  <a16:creationId xmlns:a16="http://schemas.microsoft.com/office/drawing/2014/main" id="{69E5112B-8CEA-4A5F-9494-656EB17F7DE2}"/>
                </a:ext>
              </a:extLst>
            </p:cNvPr>
            <p:cNvSpPr/>
            <p:nvPr/>
          </p:nvSpPr>
          <p:spPr>
            <a:xfrm>
              <a:off x="2627" y="2126"/>
              <a:ext cx="99" cy="92"/>
            </a:xfrm>
            <a:custGeom>
              <a:avLst/>
              <a:gdLst/>
              <a:ahLst/>
              <a:cxnLst/>
              <a:rect l="l" t="t" r="r" b="b"/>
              <a:pathLst>
                <a:path w="349" h="350" extrusionOk="0">
                  <a:moveTo>
                    <a:pt x="219" y="0"/>
                  </a:moveTo>
                  <a:lnTo>
                    <a:pt x="145" y="13"/>
                  </a:lnTo>
                  <a:lnTo>
                    <a:pt x="97" y="25"/>
                  </a:lnTo>
                  <a:lnTo>
                    <a:pt x="103" y="57"/>
                  </a:lnTo>
                  <a:lnTo>
                    <a:pt x="112" y="83"/>
                  </a:lnTo>
                  <a:lnTo>
                    <a:pt x="122" y="101"/>
                  </a:lnTo>
                  <a:lnTo>
                    <a:pt x="142" y="115"/>
                  </a:lnTo>
                  <a:lnTo>
                    <a:pt x="160" y="119"/>
                  </a:lnTo>
                  <a:lnTo>
                    <a:pt x="155" y="130"/>
                  </a:lnTo>
                  <a:lnTo>
                    <a:pt x="140" y="146"/>
                  </a:lnTo>
                  <a:lnTo>
                    <a:pt x="138" y="171"/>
                  </a:lnTo>
                  <a:lnTo>
                    <a:pt x="126" y="177"/>
                  </a:lnTo>
                  <a:lnTo>
                    <a:pt x="18" y="190"/>
                  </a:lnTo>
                  <a:lnTo>
                    <a:pt x="4" y="202"/>
                  </a:lnTo>
                  <a:lnTo>
                    <a:pt x="0" y="226"/>
                  </a:lnTo>
                  <a:lnTo>
                    <a:pt x="3" y="245"/>
                  </a:lnTo>
                  <a:lnTo>
                    <a:pt x="11" y="266"/>
                  </a:lnTo>
                  <a:lnTo>
                    <a:pt x="5" y="297"/>
                  </a:lnTo>
                  <a:lnTo>
                    <a:pt x="55" y="323"/>
                  </a:lnTo>
                  <a:lnTo>
                    <a:pt x="91" y="335"/>
                  </a:lnTo>
                  <a:lnTo>
                    <a:pt x="132" y="339"/>
                  </a:lnTo>
                  <a:lnTo>
                    <a:pt x="191" y="350"/>
                  </a:lnTo>
                  <a:lnTo>
                    <a:pt x="197" y="335"/>
                  </a:lnTo>
                  <a:lnTo>
                    <a:pt x="208" y="323"/>
                  </a:lnTo>
                  <a:lnTo>
                    <a:pt x="221" y="315"/>
                  </a:lnTo>
                  <a:lnTo>
                    <a:pt x="239" y="308"/>
                  </a:lnTo>
                  <a:lnTo>
                    <a:pt x="259" y="299"/>
                  </a:lnTo>
                  <a:lnTo>
                    <a:pt x="270" y="288"/>
                  </a:lnTo>
                  <a:lnTo>
                    <a:pt x="265" y="240"/>
                  </a:lnTo>
                  <a:lnTo>
                    <a:pt x="281" y="212"/>
                  </a:lnTo>
                  <a:lnTo>
                    <a:pt x="306" y="197"/>
                  </a:lnTo>
                  <a:lnTo>
                    <a:pt x="342" y="182"/>
                  </a:lnTo>
                  <a:lnTo>
                    <a:pt x="349" y="167"/>
                  </a:lnTo>
                  <a:lnTo>
                    <a:pt x="325" y="166"/>
                  </a:lnTo>
                  <a:lnTo>
                    <a:pt x="305" y="152"/>
                  </a:lnTo>
                  <a:lnTo>
                    <a:pt x="290" y="149"/>
                  </a:lnTo>
                  <a:lnTo>
                    <a:pt x="277" y="164"/>
                  </a:lnTo>
                  <a:lnTo>
                    <a:pt x="253" y="167"/>
                  </a:lnTo>
                  <a:lnTo>
                    <a:pt x="250" y="160"/>
                  </a:lnTo>
                  <a:lnTo>
                    <a:pt x="234" y="74"/>
                  </a:lnTo>
                  <a:lnTo>
                    <a:pt x="219" y="0"/>
                  </a:lnTo>
                </a:path>
              </a:pathLst>
            </a:custGeom>
            <a:solidFill>
              <a:srgbClr val="B9D9E9"/>
            </a:solidFill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" name="Google Shape;522;p19">
              <a:extLst>
                <a:ext uri="{FF2B5EF4-FFF2-40B4-BE49-F238E27FC236}">
                  <a16:creationId xmlns:a16="http://schemas.microsoft.com/office/drawing/2014/main" id="{D74F49F0-79E9-4F5E-9DE4-60FED52A166F}"/>
                </a:ext>
              </a:extLst>
            </p:cNvPr>
            <p:cNvSpPr/>
            <p:nvPr/>
          </p:nvSpPr>
          <p:spPr>
            <a:xfrm>
              <a:off x="2701" y="2150"/>
              <a:ext cx="137" cy="82"/>
            </a:xfrm>
            <a:custGeom>
              <a:avLst/>
              <a:gdLst/>
              <a:ahLst/>
              <a:cxnLst/>
              <a:rect l="l" t="t" r="r" b="b"/>
              <a:pathLst>
                <a:path w="475" h="309" extrusionOk="0">
                  <a:moveTo>
                    <a:pt x="84" y="71"/>
                  </a:moveTo>
                  <a:lnTo>
                    <a:pt x="152" y="58"/>
                  </a:lnTo>
                  <a:lnTo>
                    <a:pt x="182" y="44"/>
                  </a:lnTo>
                  <a:lnTo>
                    <a:pt x="204" y="30"/>
                  </a:lnTo>
                  <a:lnTo>
                    <a:pt x="298" y="14"/>
                  </a:lnTo>
                  <a:lnTo>
                    <a:pt x="393" y="0"/>
                  </a:lnTo>
                  <a:lnTo>
                    <a:pt x="413" y="7"/>
                  </a:lnTo>
                  <a:lnTo>
                    <a:pt x="411" y="19"/>
                  </a:lnTo>
                  <a:lnTo>
                    <a:pt x="401" y="24"/>
                  </a:lnTo>
                  <a:lnTo>
                    <a:pt x="407" y="36"/>
                  </a:lnTo>
                  <a:lnTo>
                    <a:pt x="420" y="39"/>
                  </a:lnTo>
                  <a:lnTo>
                    <a:pt x="444" y="36"/>
                  </a:lnTo>
                  <a:lnTo>
                    <a:pt x="462" y="41"/>
                  </a:lnTo>
                  <a:lnTo>
                    <a:pt x="475" y="55"/>
                  </a:lnTo>
                  <a:lnTo>
                    <a:pt x="462" y="65"/>
                  </a:lnTo>
                  <a:lnTo>
                    <a:pt x="452" y="83"/>
                  </a:lnTo>
                  <a:lnTo>
                    <a:pt x="422" y="107"/>
                  </a:lnTo>
                  <a:lnTo>
                    <a:pt x="400" y="111"/>
                  </a:lnTo>
                  <a:lnTo>
                    <a:pt x="345" y="105"/>
                  </a:lnTo>
                  <a:lnTo>
                    <a:pt x="327" y="113"/>
                  </a:lnTo>
                  <a:lnTo>
                    <a:pt x="322" y="150"/>
                  </a:lnTo>
                  <a:lnTo>
                    <a:pt x="319" y="166"/>
                  </a:lnTo>
                  <a:lnTo>
                    <a:pt x="306" y="173"/>
                  </a:lnTo>
                  <a:lnTo>
                    <a:pt x="274" y="179"/>
                  </a:lnTo>
                  <a:lnTo>
                    <a:pt x="232" y="187"/>
                  </a:lnTo>
                  <a:lnTo>
                    <a:pt x="218" y="203"/>
                  </a:lnTo>
                  <a:lnTo>
                    <a:pt x="214" y="231"/>
                  </a:lnTo>
                  <a:lnTo>
                    <a:pt x="207" y="267"/>
                  </a:lnTo>
                  <a:lnTo>
                    <a:pt x="187" y="288"/>
                  </a:lnTo>
                  <a:lnTo>
                    <a:pt x="152" y="309"/>
                  </a:lnTo>
                  <a:lnTo>
                    <a:pt x="149" y="285"/>
                  </a:lnTo>
                  <a:lnTo>
                    <a:pt x="134" y="273"/>
                  </a:lnTo>
                  <a:lnTo>
                    <a:pt x="121" y="228"/>
                  </a:lnTo>
                  <a:lnTo>
                    <a:pt x="104" y="209"/>
                  </a:lnTo>
                  <a:lnTo>
                    <a:pt x="63" y="196"/>
                  </a:lnTo>
                  <a:lnTo>
                    <a:pt x="5" y="191"/>
                  </a:lnTo>
                  <a:lnTo>
                    <a:pt x="0" y="144"/>
                  </a:lnTo>
                  <a:lnTo>
                    <a:pt x="16" y="116"/>
                  </a:lnTo>
                  <a:lnTo>
                    <a:pt x="41" y="102"/>
                  </a:lnTo>
                  <a:lnTo>
                    <a:pt x="77" y="87"/>
                  </a:lnTo>
                  <a:lnTo>
                    <a:pt x="84" y="71"/>
                  </a:lnTo>
                  <a:close/>
                </a:path>
              </a:pathLst>
            </a:custGeom>
            <a:solidFill>
              <a:srgbClr val="6EB0D2"/>
            </a:solidFill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0" name="Google Shape;523;p19">
              <a:extLst>
                <a:ext uri="{FF2B5EF4-FFF2-40B4-BE49-F238E27FC236}">
                  <a16:creationId xmlns:a16="http://schemas.microsoft.com/office/drawing/2014/main" id="{5C4A8426-DDD6-471A-AF3A-D8FC9D30B24C}"/>
                </a:ext>
              </a:extLst>
            </p:cNvPr>
            <p:cNvSpPr/>
            <p:nvPr/>
          </p:nvSpPr>
          <p:spPr>
            <a:xfrm>
              <a:off x="2701" y="2150"/>
              <a:ext cx="137" cy="82"/>
            </a:xfrm>
            <a:custGeom>
              <a:avLst/>
              <a:gdLst/>
              <a:ahLst/>
              <a:cxnLst/>
              <a:rect l="l" t="t" r="r" b="b"/>
              <a:pathLst>
                <a:path w="475" h="309" extrusionOk="0">
                  <a:moveTo>
                    <a:pt x="84" y="71"/>
                  </a:moveTo>
                  <a:lnTo>
                    <a:pt x="152" y="58"/>
                  </a:lnTo>
                  <a:lnTo>
                    <a:pt x="182" y="44"/>
                  </a:lnTo>
                  <a:lnTo>
                    <a:pt x="204" y="30"/>
                  </a:lnTo>
                  <a:lnTo>
                    <a:pt x="298" y="14"/>
                  </a:lnTo>
                  <a:lnTo>
                    <a:pt x="393" y="0"/>
                  </a:lnTo>
                  <a:lnTo>
                    <a:pt x="413" y="7"/>
                  </a:lnTo>
                  <a:lnTo>
                    <a:pt x="411" y="19"/>
                  </a:lnTo>
                  <a:lnTo>
                    <a:pt x="401" y="24"/>
                  </a:lnTo>
                  <a:lnTo>
                    <a:pt x="407" y="36"/>
                  </a:lnTo>
                  <a:lnTo>
                    <a:pt x="420" y="39"/>
                  </a:lnTo>
                  <a:lnTo>
                    <a:pt x="444" y="36"/>
                  </a:lnTo>
                  <a:lnTo>
                    <a:pt x="462" y="41"/>
                  </a:lnTo>
                  <a:lnTo>
                    <a:pt x="475" y="55"/>
                  </a:lnTo>
                  <a:lnTo>
                    <a:pt x="462" y="65"/>
                  </a:lnTo>
                  <a:lnTo>
                    <a:pt x="452" y="83"/>
                  </a:lnTo>
                  <a:lnTo>
                    <a:pt x="422" y="107"/>
                  </a:lnTo>
                  <a:lnTo>
                    <a:pt x="400" y="111"/>
                  </a:lnTo>
                  <a:lnTo>
                    <a:pt x="345" y="105"/>
                  </a:lnTo>
                  <a:lnTo>
                    <a:pt x="327" y="113"/>
                  </a:lnTo>
                  <a:lnTo>
                    <a:pt x="322" y="150"/>
                  </a:lnTo>
                  <a:lnTo>
                    <a:pt x="319" y="166"/>
                  </a:lnTo>
                  <a:lnTo>
                    <a:pt x="306" y="173"/>
                  </a:lnTo>
                  <a:lnTo>
                    <a:pt x="274" y="179"/>
                  </a:lnTo>
                  <a:lnTo>
                    <a:pt x="232" y="187"/>
                  </a:lnTo>
                  <a:lnTo>
                    <a:pt x="218" y="203"/>
                  </a:lnTo>
                  <a:lnTo>
                    <a:pt x="214" y="231"/>
                  </a:lnTo>
                  <a:lnTo>
                    <a:pt x="207" y="267"/>
                  </a:lnTo>
                  <a:lnTo>
                    <a:pt x="187" y="288"/>
                  </a:lnTo>
                  <a:lnTo>
                    <a:pt x="152" y="309"/>
                  </a:lnTo>
                  <a:lnTo>
                    <a:pt x="149" y="285"/>
                  </a:lnTo>
                  <a:lnTo>
                    <a:pt x="134" y="273"/>
                  </a:lnTo>
                  <a:lnTo>
                    <a:pt x="121" y="228"/>
                  </a:lnTo>
                  <a:lnTo>
                    <a:pt x="104" y="209"/>
                  </a:lnTo>
                  <a:lnTo>
                    <a:pt x="63" y="196"/>
                  </a:lnTo>
                  <a:lnTo>
                    <a:pt x="5" y="191"/>
                  </a:lnTo>
                  <a:lnTo>
                    <a:pt x="0" y="144"/>
                  </a:lnTo>
                  <a:lnTo>
                    <a:pt x="16" y="116"/>
                  </a:lnTo>
                  <a:lnTo>
                    <a:pt x="41" y="102"/>
                  </a:lnTo>
                  <a:lnTo>
                    <a:pt x="77" y="87"/>
                  </a:lnTo>
                  <a:lnTo>
                    <a:pt x="84" y="71"/>
                  </a:lnTo>
                </a:path>
              </a:pathLst>
            </a:custGeom>
            <a:solidFill>
              <a:srgbClr val="337AB7"/>
            </a:solidFill>
            <a:ln w="12700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" name="Google Shape;524;p19">
              <a:extLst>
                <a:ext uri="{FF2B5EF4-FFF2-40B4-BE49-F238E27FC236}">
                  <a16:creationId xmlns:a16="http://schemas.microsoft.com/office/drawing/2014/main" id="{37A3B68F-BBCF-4194-A26D-F46C737A9C0A}"/>
                </a:ext>
              </a:extLst>
            </p:cNvPr>
            <p:cNvSpPr/>
            <p:nvPr/>
          </p:nvSpPr>
          <p:spPr>
            <a:xfrm>
              <a:off x="2744" y="2165"/>
              <a:ext cx="96" cy="104"/>
            </a:xfrm>
            <a:custGeom>
              <a:avLst/>
              <a:gdLst/>
              <a:ahLst/>
              <a:cxnLst/>
              <a:rect l="l" t="t" r="r" b="b"/>
              <a:pathLst>
                <a:path w="340" h="399" extrusionOk="0">
                  <a:moveTo>
                    <a:pt x="319" y="378"/>
                  </a:moveTo>
                  <a:lnTo>
                    <a:pt x="320" y="335"/>
                  </a:lnTo>
                  <a:lnTo>
                    <a:pt x="309" y="309"/>
                  </a:lnTo>
                  <a:lnTo>
                    <a:pt x="310" y="283"/>
                  </a:lnTo>
                  <a:lnTo>
                    <a:pt x="317" y="272"/>
                  </a:lnTo>
                  <a:lnTo>
                    <a:pt x="330" y="260"/>
                  </a:lnTo>
                  <a:lnTo>
                    <a:pt x="338" y="240"/>
                  </a:lnTo>
                  <a:lnTo>
                    <a:pt x="328" y="211"/>
                  </a:lnTo>
                  <a:lnTo>
                    <a:pt x="323" y="167"/>
                  </a:lnTo>
                  <a:lnTo>
                    <a:pt x="327" y="118"/>
                  </a:lnTo>
                  <a:lnTo>
                    <a:pt x="338" y="84"/>
                  </a:lnTo>
                  <a:lnTo>
                    <a:pt x="339" y="51"/>
                  </a:lnTo>
                  <a:lnTo>
                    <a:pt x="340" y="20"/>
                  </a:lnTo>
                  <a:lnTo>
                    <a:pt x="326" y="0"/>
                  </a:lnTo>
                  <a:lnTo>
                    <a:pt x="314" y="10"/>
                  </a:lnTo>
                  <a:lnTo>
                    <a:pt x="304" y="29"/>
                  </a:lnTo>
                  <a:lnTo>
                    <a:pt x="274" y="53"/>
                  </a:lnTo>
                  <a:lnTo>
                    <a:pt x="252" y="57"/>
                  </a:lnTo>
                  <a:lnTo>
                    <a:pt x="198" y="49"/>
                  </a:lnTo>
                  <a:lnTo>
                    <a:pt x="179" y="59"/>
                  </a:lnTo>
                  <a:lnTo>
                    <a:pt x="174" y="96"/>
                  </a:lnTo>
                  <a:lnTo>
                    <a:pt x="171" y="112"/>
                  </a:lnTo>
                  <a:lnTo>
                    <a:pt x="158" y="119"/>
                  </a:lnTo>
                  <a:lnTo>
                    <a:pt x="126" y="123"/>
                  </a:lnTo>
                  <a:lnTo>
                    <a:pt x="84" y="132"/>
                  </a:lnTo>
                  <a:lnTo>
                    <a:pt x="70" y="149"/>
                  </a:lnTo>
                  <a:lnTo>
                    <a:pt x="66" y="175"/>
                  </a:lnTo>
                  <a:lnTo>
                    <a:pt x="58" y="213"/>
                  </a:lnTo>
                  <a:lnTo>
                    <a:pt x="39" y="233"/>
                  </a:lnTo>
                  <a:lnTo>
                    <a:pt x="4" y="254"/>
                  </a:lnTo>
                  <a:lnTo>
                    <a:pt x="0" y="260"/>
                  </a:lnTo>
                  <a:lnTo>
                    <a:pt x="3" y="274"/>
                  </a:lnTo>
                  <a:lnTo>
                    <a:pt x="15" y="284"/>
                  </a:lnTo>
                  <a:lnTo>
                    <a:pt x="81" y="326"/>
                  </a:lnTo>
                  <a:lnTo>
                    <a:pt x="105" y="349"/>
                  </a:lnTo>
                  <a:lnTo>
                    <a:pt x="142" y="372"/>
                  </a:lnTo>
                  <a:lnTo>
                    <a:pt x="164" y="399"/>
                  </a:lnTo>
                  <a:lnTo>
                    <a:pt x="206" y="379"/>
                  </a:lnTo>
                  <a:lnTo>
                    <a:pt x="222" y="366"/>
                  </a:lnTo>
                  <a:lnTo>
                    <a:pt x="240" y="359"/>
                  </a:lnTo>
                  <a:lnTo>
                    <a:pt x="261" y="365"/>
                  </a:lnTo>
                  <a:lnTo>
                    <a:pt x="276" y="377"/>
                  </a:lnTo>
                  <a:lnTo>
                    <a:pt x="292" y="380"/>
                  </a:lnTo>
                  <a:lnTo>
                    <a:pt x="319" y="378"/>
                  </a:lnTo>
                  <a:close/>
                </a:path>
              </a:pathLst>
            </a:custGeom>
            <a:noFill/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" name="Google Shape;525;p19">
              <a:extLst>
                <a:ext uri="{FF2B5EF4-FFF2-40B4-BE49-F238E27FC236}">
                  <a16:creationId xmlns:a16="http://schemas.microsoft.com/office/drawing/2014/main" id="{63F7E905-8ED4-4057-8C0F-C7403733E044}"/>
                </a:ext>
              </a:extLst>
            </p:cNvPr>
            <p:cNvSpPr/>
            <p:nvPr/>
          </p:nvSpPr>
          <p:spPr>
            <a:xfrm>
              <a:off x="2744" y="2165"/>
              <a:ext cx="96" cy="104"/>
            </a:xfrm>
            <a:custGeom>
              <a:avLst/>
              <a:gdLst/>
              <a:ahLst/>
              <a:cxnLst/>
              <a:rect l="l" t="t" r="r" b="b"/>
              <a:pathLst>
                <a:path w="340" h="399" extrusionOk="0">
                  <a:moveTo>
                    <a:pt x="319" y="378"/>
                  </a:moveTo>
                  <a:lnTo>
                    <a:pt x="320" y="335"/>
                  </a:lnTo>
                  <a:lnTo>
                    <a:pt x="309" y="309"/>
                  </a:lnTo>
                  <a:lnTo>
                    <a:pt x="310" y="283"/>
                  </a:lnTo>
                  <a:lnTo>
                    <a:pt x="317" y="272"/>
                  </a:lnTo>
                  <a:lnTo>
                    <a:pt x="330" y="260"/>
                  </a:lnTo>
                  <a:lnTo>
                    <a:pt x="338" y="240"/>
                  </a:lnTo>
                  <a:lnTo>
                    <a:pt x="328" y="211"/>
                  </a:lnTo>
                  <a:lnTo>
                    <a:pt x="323" y="167"/>
                  </a:lnTo>
                  <a:lnTo>
                    <a:pt x="327" y="118"/>
                  </a:lnTo>
                  <a:lnTo>
                    <a:pt x="338" y="84"/>
                  </a:lnTo>
                  <a:lnTo>
                    <a:pt x="339" y="51"/>
                  </a:lnTo>
                  <a:lnTo>
                    <a:pt x="340" y="20"/>
                  </a:lnTo>
                  <a:lnTo>
                    <a:pt x="326" y="0"/>
                  </a:lnTo>
                  <a:lnTo>
                    <a:pt x="314" y="10"/>
                  </a:lnTo>
                  <a:lnTo>
                    <a:pt x="304" y="29"/>
                  </a:lnTo>
                  <a:lnTo>
                    <a:pt x="274" y="53"/>
                  </a:lnTo>
                  <a:lnTo>
                    <a:pt x="252" y="57"/>
                  </a:lnTo>
                  <a:lnTo>
                    <a:pt x="198" y="49"/>
                  </a:lnTo>
                  <a:lnTo>
                    <a:pt x="179" y="59"/>
                  </a:lnTo>
                  <a:lnTo>
                    <a:pt x="174" y="96"/>
                  </a:lnTo>
                  <a:lnTo>
                    <a:pt x="171" y="112"/>
                  </a:lnTo>
                  <a:lnTo>
                    <a:pt x="158" y="119"/>
                  </a:lnTo>
                  <a:lnTo>
                    <a:pt x="126" y="123"/>
                  </a:lnTo>
                  <a:lnTo>
                    <a:pt x="84" y="132"/>
                  </a:lnTo>
                  <a:lnTo>
                    <a:pt x="70" y="149"/>
                  </a:lnTo>
                  <a:lnTo>
                    <a:pt x="66" y="175"/>
                  </a:lnTo>
                  <a:lnTo>
                    <a:pt x="58" y="213"/>
                  </a:lnTo>
                  <a:lnTo>
                    <a:pt x="39" y="233"/>
                  </a:lnTo>
                  <a:lnTo>
                    <a:pt x="4" y="254"/>
                  </a:lnTo>
                  <a:lnTo>
                    <a:pt x="0" y="260"/>
                  </a:lnTo>
                  <a:lnTo>
                    <a:pt x="3" y="274"/>
                  </a:lnTo>
                  <a:lnTo>
                    <a:pt x="15" y="284"/>
                  </a:lnTo>
                  <a:lnTo>
                    <a:pt x="81" y="326"/>
                  </a:lnTo>
                  <a:lnTo>
                    <a:pt x="105" y="349"/>
                  </a:lnTo>
                  <a:lnTo>
                    <a:pt x="142" y="372"/>
                  </a:lnTo>
                  <a:lnTo>
                    <a:pt x="164" y="399"/>
                  </a:lnTo>
                  <a:lnTo>
                    <a:pt x="206" y="379"/>
                  </a:lnTo>
                  <a:lnTo>
                    <a:pt x="222" y="366"/>
                  </a:lnTo>
                  <a:lnTo>
                    <a:pt x="240" y="359"/>
                  </a:lnTo>
                  <a:lnTo>
                    <a:pt x="261" y="365"/>
                  </a:lnTo>
                  <a:lnTo>
                    <a:pt x="276" y="377"/>
                  </a:lnTo>
                  <a:lnTo>
                    <a:pt x="292" y="380"/>
                  </a:lnTo>
                  <a:lnTo>
                    <a:pt x="319" y="378"/>
                  </a:lnTo>
                </a:path>
              </a:pathLst>
            </a:custGeom>
            <a:solidFill>
              <a:srgbClr val="32B6ED">
                <a:lumMod val="20000"/>
                <a:lumOff val="80000"/>
              </a:srgbClr>
            </a:solidFill>
            <a:ln w="12700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" name="Google Shape;526;p19">
              <a:extLst>
                <a:ext uri="{FF2B5EF4-FFF2-40B4-BE49-F238E27FC236}">
                  <a16:creationId xmlns:a16="http://schemas.microsoft.com/office/drawing/2014/main" id="{9D3CA2CC-9215-49CD-B710-584C1C97F6D1}"/>
                </a:ext>
              </a:extLst>
            </p:cNvPr>
            <p:cNvSpPr/>
            <p:nvPr/>
          </p:nvSpPr>
          <p:spPr>
            <a:xfrm>
              <a:off x="2857" y="2285"/>
              <a:ext cx="147" cy="52"/>
            </a:xfrm>
            <a:custGeom>
              <a:avLst/>
              <a:gdLst/>
              <a:ahLst/>
              <a:cxnLst/>
              <a:rect l="l" t="t" r="r" b="b"/>
              <a:pathLst>
                <a:path w="514" h="200" extrusionOk="0">
                  <a:moveTo>
                    <a:pt x="24" y="17"/>
                  </a:moveTo>
                  <a:lnTo>
                    <a:pt x="64" y="44"/>
                  </a:lnTo>
                  <a:lnTo>
                    <a:pt x="85" y="75"/>
                  </a:lnTo>
                  <a:lnTo>
                    <a:pt x="112" y="73"/>
                  </a:lnTo>
                  <a:lnTo>
                    <a:pt x="144" y="81"/>
                  </a:lnTo>
                  <a:lnTo>
                    <a:pt x="197" y="66"/>
                  </a:lnTo>
                  <a:lnTo>
                    <a:pt x="221" y="43"/>
                  </a:lnTo>
                  <a:lnTo>
                    <a:pt x="248" y="32"/>
                  </a:lnTo>
                  <a:lnTo>
                    <a:pt x="272" y="14"/>
                  </a:lnTo>
                  <a:lnTo>
                    <a:pt x="300" y="3"/>
                  </a:lnTo>
                  <a:lnTo>
                    <a:pt x="328" y="8"/>
                  </a:lnTo>
                  <a:lnTo>
                    <a:pt x="369" y="0"/>
                  </a:lnTo>
                  <a:lnTo>
                    <a:pt x="440" y="28"/>
                  </a:lnTo>
                  <a:lnTo>
                    <a:pt x="491" y="57"/>
                  </a:lnTo>
                  <a:lnTo>
                    <a:pt x="507" y="63"/>
                  </a:lnTo>
                  <a:lnTo>
                    <a:pt x="514" y="72"/>
                  </a:lnTo>
                  <a:lnTo>
                    <a:pt x="510" y="77"/>
                  </a:lnTo>
                  <a:lnTo>
                    <a:pt x="486" y="85"/>
                  </a:lnTo>
                  <a:lnTo>
                    <a:pt x="489" y="99"/>
                  </a:lnTo>
                  <a:lnTo>
                    <a:pt x="507" y="116"/>
                  </a:lnTo>
                  <a:lnTo>
                    <a:pt x="510" y="134"/>
                  </a:lnTo>
                  <a:lnTo>
                    <a:pt x="505" y="150"/>
                  </a:lnTo>
                  <a:lnTo>
                    <a:pt x="487" y="150"/>
                  </a:lnTo>
                  <a:lnTo>
                    <a:pt x="461" y="146"/>
                  </a:lnTo>
                  <a:lnTo>
                    <a:pt x="432" y="150"/>
                  </a:lnTo>
                  <a:lnTo>
                    <a:pt x="424" y="132"/>
                  </a:lnTo>
                  <a:lnTo>
                    <a:pt x="421" y="109"/>
                  </a:lnTo>
                  <a:lnTo>
                    <a:pt x="434" y="87"/>
                  </a:lnTo>
                  <a:lnTo>
                    <a:pt x="443" y="75"/>
                  </a:lnTo>
                  <a:lnTo>
                    <a:pt x="442" y="72"/>
                  </a:lnTo>
                  <a:lnTo>
                    <a:pt x="420" y="60"/>
                  </a:lnTo>
                  <a:lnTo>
                    <a:pt x="371" y="58"/>
                  </a:lnTo>
                  <a:lnTo>
                    <a:pt x="355" y="51"/>
                  </a:lnTo>
                  <a:lnTo>
                    <a:pt x="322" y="46"/>
                  </a:lnTo>
                  <a:lnTo>
                    <a:pt x="297" y="47"/>
                  </a:lnTo>
                  <a:lnTo>
                    <a:pt x="289" y="53"/>
                  </a:lnTo>
                  <a:lnTo>
                    <a:pt x="289" y="74"/>
                  </a:lnTo>
                  <a:lnTo>
                    <a:pt x="287" y="87"/>
                  </a:lnTo>
                  <a:lnTo>
                    <a:pt x="256" y="102"/>
                  </a:lnTo>
                  <a:lnTo>
                    <a:pt x="252" y="118"/>
                  </a:lnTo>
                  <a:lnTo>
                    <a:pt x="284" y="142"/>
                  </a:lnTo>
                  <a:lnTo>
                    <a:pt x="292" y="165"/>
                  </a:lnTo>
                  <a:lnTo>
                    <a:pt x="284" y="186"/>
                  </a:lnTo>
                  <a:lnTo>
                    <a:pt x="255" y="200"/>
                  </a:lnTo>
                  <a:lnTo>
                    <a:pt x="227" y="185"/>
                  </a:lnTo>
                  <a:lnTo>
                    <a:pt x="200" y="156"/>
                  </a:lnTo>
                  <a:lnTo>
                    <a:pt x="181" y="159"/>
                  </a:lnTo>
                  <a:lnTo>
                    <a:pt x="174" y="166"/>
                  </a:lnTo>
                  <a:lnTo>
                    <a:pt x="134" y="140"/>
                  </a:lnTo>
                  <a:lnTo>
                    <a:pt x="98" y="124"/>
                  </a:lnTo>
                  <a:lnTo>
                    <a:pt x="85" y="126"/>
                  </a:lnTo>
                  <a:lnTo>
                    <a:pt x="58" y="140"/>
                  </a:lnTo>
                  <a:lnTo>
                    <a:pt x="43" y="158"/>
                  </a:lnTo>
                  <a:lnTo>
                    <a:pt x="31" y="165"/>
                  </a:lnTo>
                  <a:lnTo>
                    <a:pt x="19" y="158"/>
                  </a:lnTo>
                  <a:lnTo>
                    <a:pt x="8" y="132"/>
                  </a:lnTo>
                  <a:lnTo>
                    <a:pt x="7" y="107"/>
                  </a:lnTo>
                  <a:lnTo>
                    <a:pt x="12" y="99"/>
                  </a:lnTo>
                  <a:lnTo>
                    <a:pt x="20" y="90"/>
                  </a:lnTo>
                  <a:lnTo>
                    <a:pt x="17" y="77"/>
                  </a:lnTo>
                  <a:lnTo>
                    <a:pt x="0" y="61"/>
                  </a:lnTo>
                  <a:lnTo>
                    <a:pt x="19" y="25"/>
                  </a:lnTo>
                  <a:lnTo>
                    <a:pt x="24" y="17"/>
                  </a:lnTo>
                  <a:close/>
                </a:path>
              </a:pathLst>
            </a:custGeom>
            <a:noFill/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" name="Google Shape;527;p19">
              <a:extLst>
                <a:ext uri="{FF2B5EF4-FFF2-40B4-BE49-F238E27FC236}">
                  <a16:creationId xmlns:a16="http://schemas.microsoft.com/office/drawing/2014/main" id="{A5EC7815-2B22-47CF-9B45-44284AA3E003}"/>
                </a:ext>
              </a:extLst>
            </p:cNvPr>
            <p:cNvSpPr/>
            <p:nvPr/>
          </p:nvSpPr>
          <p:spPr>
            <a:xfrm>
              <a:off x="2857" y="2285"/>
              <a:ext cx="147" cy="52"/>
            </a:xfrm>
            <a:custGeom>
              <a:avLst/>
              <a:gdLst/>
              <a:ahLst/>
              <a:cxnLst/>
              <a:rect l="l" t="t" r="r" b="b"/>
              <a:pathLst>
                <a:path w="514" h="200" extrusionOk="0">
                  <a:moveTo>
                    <a:pt x="24" y="17"/>
                  </a:moveTo>
                  <a:lnTo>
                    <a:pt x="64" y="44"/>
                  </a:lnTo>
                  <a:lnTo>
                    <a:pt x="85" y="75"/>
                  </a:lnTo>
                  <a:lnTo>
                    <a:pt x="112" y="73"/>
                  </a:lnTo>
                  <a:lnTo>
                    <a:pt x="144" y="81"/>
                  </a:lnTo>
                  <a:lnTo>
                    <a:pt x="197" y="66"/>
                  </a:lnTo>
                  <a:lnTo>
                    <a:pt x="221" y="43"/>
                  </a:lnTo>
                  <a:lnTo>
                    <a:pt x="248" y="32"/>
                  </a:lnTo>
                  <a:lnTo>
                    <a:pt x="272" y="14"/>
                  </a:lnTo>
                  <a:lnTo>
                    <a:pt x="300" y="3"/>
                  </a:lnTo>
                  <a:lnTo>
                    <a:pt x="328" y="8"/>
                  </a:lnTo>
                  <a:lnTo>
                    <a:pt x="369" y="0"/>
                  </a:lnTo>
                  <a:lnTo>
                    <a:pt x="440" y="28"/>
                  </a:lnTo>
                  <a:lnTo>
                    <a:pt x="491" y="57"/>
                  </a:lnTo>
                  <a:lnTo>
                    <a:pt x="507" y="63"/>
                  </a:lnTo>
                  <a:lnTo>
                    <a:pt x="514" y="72"/>
                  </a:lnTo>
                  <a:lnTo>
                    <a:pt x="510" y="77"/>
                  </a:lnTo>
                  <a:lnTo>
                    <a:pt x="486" y="85"/>
                  </a:lnTo>
                  <a:lnTo>
                    <a:pt x="489" y="99"/>
                  </a:lnTo>
                  <a:lnTo>
                    <a:pt x="507" y="116"/>
                  </a:lnTo>
                  <a:lnTo>
                    <a:pt x="510" y="134"/>
                  </a:lnTo>
                  <a:lnTo>
                    <a:pt x="505" y="150"/>
                  </a:lnTo>
                  <a:lnTo>
                    <a:pt x="487" y="150"/>
                  </a:lnTo>
                  <a:lnTo>
                    <a:pt x="461" y="146"/>
                  </a:lnTo>
                  <a:lnTo>
                    <a:pt x="432" y="150"/>
                  </a:lnTo>
                  <a:lnTo>
                    <a:pt x="424" y="132"/>
                  </a:lnTo>
                  <a:lnTo>
                    <a:pt x="421" y="109"/>
                  </a:lnTo>
                  <a:lnTo>
                    <a:pt x="434" y="87"/>
                  </a:lnTo>
                  <a:lnTo>
                    <a:pt x="443" y="75"/>
                  </a:lnTo>
                  <a:lnTo>
                    <a:pt x="442" y="72"/>
                  </a:lnTo>
                  <a:lnTo>
                    <a:pt x="420" y="60"/>
                  </a:lnTo>
                  <a:lnTo>
                    <a:pt x="371" y="58"/>
                  </a:lnTo>
                  <a:lnTo>
                    <a:pt x="355" y="51"/>
                  </a:lnTo>
                  <a:lnTo>
                    <a:pt x="322" y="46"/>
                  </a:lnTo>
                  <a:lnTo>
                    <a:pt x="297" y="47"/>
                  </a:lnTo>
                  <a:lnTo>
                    <a:pt x="289" y="53"/>
                  </a:lnTo>
                  <a:lnTo>
                    <a:pt x="289" y="74"/>
                  </a:lnTo>
                  <a:lnTo>
                    <a:pt x="287" y="87"/>
                  </a:lnTo>
                  <a:lnTo>
                    <a:pt x="256" y="102"/>
                  </a:lnTo>
                  <a:lnTo>
                    <a:pt x="252" y="118"/>
                  </a:lnTo>
                  <a:lnTo>
                    <a:pt x="284" y="142"/>
                  </a:lnTo>
                  <a:lnTo>
                    <a:pt x="292" y="165"/>
                  </a:lnTo>
                  <a:lnTo>
                    <a:pt x="284" y="186"/>
                  </a:lnTo>
                  <a:lnTo>
                    <a:pt x="255" y="200"/>
                  </a:lnTo>
                  <a:lnTo>
                    <a:pt x="227" y="185"/>
                  </a:lnTo>
                  <a:lnTo>
                    <a:pt x="200" y="156"/>
                  </a:lnTo>
                  <a:lnTo>
                    <a:pt x="181" y="159"/>
                  </a:lnTo>
                  <a:lnTo>
                    <a:pt x="174" y="166"/>
                  </a:lnTo>
                  <a:lnTo>
                    <a:pt x="134" y="140"/>
                  </a:lnTo>
                  <a:lnTo>
                    <a:pt x="98" y="124"/>
                  </a:lnTo>
                  <a:lnTo>
                    <a:pt x="85" y="126"/>
                  </a:lnTo>
                  <a:lnTo>
                    <a:pt x="58" y="140"/>
                  </a:lnTo>
                  <a:lnTo>
                    <a:pt x="43" y="158"/>
                  </a:lnTo>
                  <a:lnTo>
                    <a:pt x="31" y="165"/>
                  </a:lnTo>
                  <a:lnTo>
                    <a:pt x="19" y="158"/>
                  </a:lnTo>
                  <a:lnTo>
                    <a:pt x="8" y="132"/>
                  </a:lnTo>
                  <a:lnTo>
                    <a:pt x="7" y="107"/>
                  </a:lnTo>
                  <a:lnTo>
                    <a:pt x="12" y="99"/>
                  </a:lnTo>
                  <a:lnTo>
                    <a:pt x="20" y="90"/>
                  </a:lnTo>
                  <a:lnTo>
                    <a:pt x="17" y="77"/>
                  </a:lnTo>
                  <a:lnTo>
                    <a:pt x="0" y="61"/>
                  </a:lnTo>
                  <a:lnTo>
                    <a:pt x="19" y="25"/>
                  </a:lnTo>
                  <a:lnTo>
                    <a:pt x="24" y="17"/>
                  </a:lnTo>
                </a:path>
              </a:pathLst>
            </a:custGeom>
            <a:solidFill>
              <a:srgbClr val="D4F0FB"/>
            </a:solidFill>
            <a:ln w="12700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" name="Google Shape;528;p19">
              <a:extLst>
                <a:ext uri="{FF2B5EF4-FFF2-40B4-BE49-F238E27FC236}">
                  <a16:creationId xmlns:a16="http://schemas.microsoft.com/office/drawing/2014/main" id="{20D136E4-958C-41BE-BE3C-50D7BC85EDA6}"/>
                </a:ext>
              </a:extLst>
            </p:cNvPr>
            <p:cNvSpPr/>
            <p:nvPr/>
          </p:nvSpPr>
          <p:spPr>
            <a:xfrm>
              <a:off x="3028" y="2031"/>
              <a:ext cx="81" cy="53"/>
            </a:xfrm>
            <a:custGeom>
              <a:avLst/>
              <a:gdLst/>
              <a:ahLst/>
              <a:cxnLst/>
              <a:rect l="l" t="t" r="r" b="b"/>
              <a:pathLst>
                <a:path w="288" h="196" extrusionOk="0">
                  <a:moveTo>
                    <a:pt x="222" y="0"/>
                  </a:moveTo>
                  <a:lnTo>
                    <a:pt x="175" y="11"/>
                  </a:lnTo>
                  <a:lnTo>
                    <a:pt x="122" y="12"/>
                  </a:lnTo>
                  <a:lnTo>
                    <a:pt x="96" y="17"/>
                  </a:lnTo>
                  <a:lnTo>
                    <a:pt x="84" y="33"/>
                  </a:lnTo>
                  <a:lnTo>
                    <a:pt x="86" y="48"/>
                  </a:lnTo>
                  <a:lnTo>
                    <a:pt x="93" y="58"/>
                  </a:lnTo>
                  <a:lnTo>
                    <a:pt x="111" y="68"/>
                  </a:lnTo>
                  <a:lnTo>
                    <a:pt x="144" y="71"/>
                  </a:lnTo>
                  <a:lnTo>
                    <a:pt x="166" y="91"/>
                  </a:lnTo>
                  <a:lnTo>
                    <a:pt x="170" y="108"/>
                  </a:lnTo>
                  <a:lnTo>
                    <a:pt x="166" y="115"/>
                  </a:lnTo>
                  <a:lnTo>
                    <a:pt x="120" y="118"/>
                  </a:lnTo>
                  <a:lnTo>
                    <a:pt x="82" y="122"/>
                  </a:lnTo>
                  <a:lnTo>
                    <a:pt x="48" y="122"/>
                  </a:lnTo>
                  <a:lnTo>
                    <a:pt x="16" y="128"/>
                  </a:lnTo>
                  <a:lnTo>
                    <a:pt x="4" y="140"/>
                  </a:lnTo>
                  <a:lnTo>
                    <a:pt x="1" y="171"/>
                  </a:lnTo>
                  <a:lnTo>
                    <a:pt x="3" y="180"/>
                  </a:lnTo>
                  <a:lnTo>
                    <a:pt x="0" y="186"/>
                  </a:lnTo>
                  <a:lnTo>
                    <a:pt x="15" y="192"/>
                  </a:lnTo>
                  <a:lnTo>
                    <a:pt x="20" y="196"/>
                  </a:lnTo>
                  <a:lnTo>
                    <a:pt x="133" y="182"/>
                  </a:lnTo>
                  <a:lnTo>
                    <a:pt x="169" y="181"/>
                  </a:lnTo>
                  <a:lnTo>
                    <a:pt x="204" y="165"/>
                  </a:lnTo>
                  <a:lnTo>
                    <a:pt x="232" y="159"/>
                  </a:lnTo>
                  <a:lnTo>
                    <a:pt x="261" y="176"/>
                  </a:lnTo>
                  <a:lnTo>
                    <a:pt x="285" y="192"/>
                  </a:lnTo>
                  <a:lnTo>
                    <a:pt x="288" y="166"/>
                  </a:lnTo>
                  <a:lnTo>
                    <a:pt x="265" y="140"/>
                  </a:lnTo>
                  <a:lnTo>
                    <a:pt x="240" y="129"/>
                  </a:lnTo>
                  <a:lnTo>
                    <a:pt x="229" y="126"/>
                  </a:lnTo>
                  <a:lnTo>
                    <a:pt x="228" y="115"/>
                  </a:lnTo>
                  <a:lnTo>
                    <a:pt x="236" y="105"/>
                  </a:lnTo>
                  <a:lnTo>
                    <a:pt x="247" y="93"/>
                  </a:lnTo>
                  <a:lnTo>
                    <a:pt x="248" y="82"/>
                  </a:lnTo>
                  <a:lnTo>
                    <a:pt x="239" y="75"/>
                  </a:lnTo>
                  <a:lnTo>
                    <a:pt x="224" y="60"/>
                  </a:lnTo>
                  <a:lnTo>
                    <a:pt x="228" y="45"/>
                  </a:lnTo>
                  <a:lnTo>
                    <a:pt x="236" y="36"/>
                  </a:lnTo>
                  <a:lnTo>
                    <a:pt x="237" y="25"/>
                  </a:lnTo>
                  <a:lnTo>
                    <a:pt x="233" y="10"/>
                  </a:lnTo>
                  <a:lnTo>
                    <a:pt x="222" y="0"/>
                  </a:lnTo>
                </a:path>
              </a:pathLst>
            </a:custGeom>
            <a:noFill/>
            <a:ln w="12700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6" name="Google Shape;529;p19">
              <a:extLst>
                <a:ext uri="{FF2B5EF4-FFF2-40B4-BE49-F238E27FC236}">
                  <a16:creationId xmlns:a16="http://schemas.microsoft.com/office/drawing/2014/main" id="{D7FD0174-3A36-4543-A6C1-07C71FB79573}"/>
                </a:ext>
              </a:extLst>
            </p:cNvPr>
            <p:cNvSpPr/>
            <p:nvPr/>
          </p:nvSpPr>
          <p:spPr>
            <a:xfrm>
              <a:off x="3090" y="2026"/>
              <a:ext cx="75" cy="48"/>
            </a:xfrm>
            <a:custGeom>
              <a:avLst/>
              <a:gdLst/>
              <a:ahLst/>
              <a:cxnLst/>
              <a:rect l="l" t="t" r="r" b="b"/>
              <a:pathLst>
                <a:path w="261" h="183" extrusionOk="0">
                  <a:moveTo>
                    <a:pt x="0" y="17"/>
                  </a:moveTo>
                  <a:lnTo>
                    <a:pt x="52" y="0"/>
                  </a:lnTo>
                  <a:lnTo>
                    <a:pt x="91" y="3"/>
                  </a:lnTo>
                  <a:lnTo>
                    <a:pt x="125" y="12"/>
                  </a:lnTo>
                  <a:lnTo>
                    <a:pt x="164" y="8"/>
                  </a:lnTo>
                  <a:lnTo>
                    <a:pt x="189" y="10"/>
                  </a:lnTo>
                  <a:lnTo>
                    <a:pt x="198" y="15"/>
                  </a:lnTo>
                  <a:lnTo>
                    <a:pt x="202" y="33"/>
                  </a:lnTo>
                  <a:lnTo>
                    <a:pt x="179" y="45"/>
                  </a:lnTo>
                  <a:lnTo>
                    <a:pt x="183" y="60"/>
                  </a:lnTo>
                  <a:lnTo>
                    <a:pt x="215" y="55"/>
                  </a:lnTo>
                  <a:lnTo>
                    <a:pt x="243" y="42"/>
                  </a:lnTo>
                  <a:lnTo>
                    <a:pt x="258" y="52"/>
                  </a:lnTo>
                  <a:lnTo>
                    <a:pt x="261" y="73"/>
                  </a:lnTo>
                  <a:lnTo>
                    <a:pt x="254" y="84"/>
                  </a:lnTo>
                  <a:lnTo>
                    <a:pt x="209" y="99"/>
                  </a:lnTo>
                  <a:lnTo>
                    <a:pt x="144" y="106"/>
                  </a:lnTo>
                  <a:lnTo>
                    <a:pt x="122" y="119"/>
                  </a:lnTo>
                  <a:lnTo>
                    <a:pt x="80" y="135"/>
                  </a:lnTo>
                  <a:lnTo>
                    <a:pt x="62" y="157"/>
                  </a:lnTo>
                  <a:lnTo>
                    <a:pt x="65" y="183"/>
                  </a:lnTo>
                  <a:lnTo>
                    <a:pt x="43" y="157"/>
                  </a:lnTo>
                  <a:lnTo>
                    <a:pt x="18" y="147"/>
                  </a:lnTo>
                  <a:lnTo>
                    <a:pt x="7" y="143"/>
                  </a:lnTo>
                  <a:lnTo>
                    <a:pt x="4" y="132"/>
                  </a:lnTo>
                  <a:lnTo>
                    <a:pt x="12" y="122"/>
                  </a:lnTo>
                  <a:lnTo>
                    <a:pt x="25" y="111"/>
                  </a:lnTo>
                  <a:lnTo>
                    <a:pt x="26" y="98"/>
                  </a:lnTo>
                  <a:lnTo>
                    <a:pt x="17" y="92"/>
                  </a:lnTo>
                  <a:lnTo>
                    <a:pt x="2" y="77"/>
                  </a:lnTo>
                  <a:lnTo>
                    <a:pt x="6" y="63"/>
                  </a:lnTo>
                  <a:lnTo>
                    <a:pt x="14" y="54"/>
                  </a:lnTo>
                  <a:lnTo>
                    <a:pt x="15" y="43"/>
                  </a:lnTo>
                  <a:lnTo>
                    <a:pt x="11" y="27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00CC00"/>
            </a:solidFill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" name="Google Shape;530;p19">
              <a:extLst>
                <a:ext uri="{FF2B5EF4-FFF2-40B4-BE49-F238E27FC236}">
                  <a16:creationId xmlns:a16="http://schemas.microsoft.com/office/drawing/2014/main" id="{2811FAE0-FD53-43C2-BCA6-BC71D91B1E57}"/>
                </a:ext>
              </a:extLst>
            </p:cNvPr>
            <p:cNvSpPr/>
            <p:nvPr/>
          </p:nvSpPr>
          <p:spPr>
            <a:xfrm>
              <a:off x="3090" y="2026"/>
              <a:ext cx="75" cy="48"/>
            </a:xfrm>
            <a:custGeom>
              <a:avLst/>
              <a:gdLst/>
              <a:ahLst/>
              <a:cxnLst/>
              <a:rect l="l" t="t" r="r" b="b"/>
              <a:pathLst>
                <a:path w="261" h="183" extrusionOk="0">
                  <a:moveTo>
                    <a:pt x="0" y="17"/>
                  </a:moveTo>
                  <a:lnTo>
                    <a:pt x="52" y="0"/>
                  </a:lnTo>
                  <a:lnTo>
                    <a:pt x="91" y="3"/>
                  </a:lnTo>
                  <a:lnTo>
                    <a:pt x="125" y="12"/>
                  </a:lnTo>
                  <a:lnTo>
                    <a:pt x="164" y="8"/>
                  </a:lnTo>
                  <a:lnTo>
                    <a:pt x="189" y="10"/>
                  </a:lnTo>
                  <a:lnTo>
                    <a:pt x="198" y="15"/>
                  </a:lnTo>
                  <a:lnTo>
                    <a:pt x="202" y="33"/>
                  </a:lnTo>
                  <a:lnTo>
                    <a:pt x="179" y="45"/>
                  </a:lnTo>
                  <a:lnTo>
                    <a:pt x="183" y="60"/>
                  </a:lnTo>
                  <a:lnTo>
                    <a:pt x="215" y="55"/>
                  </a:lnTo>
                  <a:lnTo>
                    <a:pt x="243" y="42"/>
                  </a:lnTo>
                  <a:lnTo>
                    <a:pt x="258" y="52"/>
                  </a:lnTo>
                  <a:lnTo>
                    <a:pt x="261" y="73"/>
                  </a:lnTo>
                  <a:lnTo>
                    <a:pt x="254" y="84"/>
                  </a:lnTo>
                  <a:lnTo>
                    <a:pt x="209" y="99"/>
                  </a:lnTo>
                  <a:lnTo>
                    <a:pt x="144" y="106"/>
                  </a:lnTo>
                  <a:lnTo>
                    <a:pt x="122" y="119"/>
                  </a:lnTo>
                  <a:lnTo>
                    <a:pt x="80" y="135"/>
                  </a:lnTo>
                  <a:lnTo>
                    <a:pt x="62" y="157"/>
                  </a:lnTo>
                  <a:lnTo>
                    <a:pt x="65" y="183"/>
                  </a:lnTo>
                  <a:lnTo>
                    <a:pt x="43" y="157"/>
                  </a:lnTo>
                  <a:lnTo>
                    <a:pt x="18" y="147"/>
                  </a:lnTo>
                  <a:lnTo>
                    <a:pt x="7" y="143"/>
                  </a:lnTo>
                  <a:lnTo>
                    <a:pt x="4" y="132"/>
                  </a:lnTo>
                  <a:lnTo>
                    <a:pt x="12" y="122"/>
                  </a:lnTo>
                  <a:lnTo>
                    <a:pt x="25" y="111"/>
                  </a:lnTo>
                  <a:lnTo>
                    <a:pt x="26" y="98"/>
                  </a:lnTo>
                  <a:lnTo>
                    <a:pt x="17" y="92"/>
                  </a:lnTo>
                  <a:lnTo>
                    <a:pt x="2" y="77"/>
                  </a:lnTo>
                  <a:lnTo>
                    <a:pt x="6" y="63"/>
                  </a:lnTo>
                  <a:lnTo>
                    <a:pt x="14" y="54"/>
                  </a:lnTo>
                  <a:lnTo>
                    <a:pt x="15" y="43"/>
                  </a:lnTo>
                  <a:lnTo>
                    <a:pt x="11" y="27"/>
                  </a:lnTo>
                  <a:lnTo>
                    <a:pt x="0" y="17"/>
                  </a:lnTo>
                </a:path>
              </a:pathLst>
            </a:custGeom>
            <a:solidFill>
              <a:srgbClr val="337AB7"/>
            </a:solidFill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" name="Google Shape;531;p19">
              <a:extLst>
                <a:ext uri="{FF2B5EF4-FFF2-40B4-BE49-F238E27FC236}">
                  <a16:creationId xmlns:a16="http://schemas.microsoft.com/office/drawing/2014/main" id="{E5C66BDD-89A0-461E-81C2-D931D061DCC0}"/>
                </a:ext>
              </a:extLst>
            </p:cNvPr>
            <p:cNvSpPr/>
            <p:nvPr/>
          </p:nvSpPr>
          <p:spPr>
            <a:xfrm>
              <a:off x="2095" y="1771"/>
              <a:ext cx="641" cy="434"/>
            </a:xfrm>
            <a:custGeom>
              <a:avLst/>
              <a:gdLst/>
              <a:ahLst/>
              <a:cxnLst/>
              <a:rect l="l" t="t" r="r" b="b"/>
              <a:pathLst>
                <a:path w="2253" h="1649" extrusionOk="0">
                  <a:moveTo>
                    <a:pt x="1550" y="1270"/>
                  </a:moveTo>
                  <a:lnTo>
                    <a:pt x="1516" y="1214"/>
                  </a:lnTo>
                  <a:lnTo>
                    <a:pt x="1498" y="1184"/>
                  </a:lnTo>
                  <a:lnTo>
                    <a:pt x="1469" y="1154"/>
                  </a:lnTo>
                  <a:lnTo>
                    <a:pt x="1449" y="1133"/>
                  </a:lnTo>
                  <a:lnTo>
                    <a:pt x="1428" y="1127"/>
                  </a:lnTo>
                  <a:lnTo>
                    <a:pt x="1426" y="1088"/>
                  </a:lnTo>
                  <a:lnTo>
                    <a:pt x="1412" y="1039"/>
                  </a:lnTo>
                  <a:lnTo>
                    <a:pt x="1397" y="1032"/>
                  </a:lnTo>
                  <a:lnTo>
                    <a:pt x="1375" y="1013"/>
                  </a:lnTo>
                  <a:lnTo>
                    <a:pt x="1371" y="985"/>
                  </a:lnTo>
                  <a:lnTo>
                    <a:pt x="1380" y="956"/>
                  </a:lnTo>
                  <a:lnTo>
                    <a:pt x="1367" y="886"/>
                  </a:lnTo>
                  <a:lnTo>
                    <a:pt x="1360" y="809"/>
                  </a:lnTo>
                  <a:lnTo>
                    <a:pt x="1366" y="749"/>
                  </a:lnTo>
                  <a:lnTo>
                    <a:pt x="1395" y="705"/>
                  </a:lnTo>
                  <a:lnTo>
                    <a:pt x="1402" y="690"/>
                  </a:lnTo>
                  <a:lnTo>
                    <a:pt x="1383" y="663"/>
                  </a:lnTo>
                  <a:lnTo>
                    <a:pt x="1377" y="660"/>
                  </a:lnTo>
                  <a:lnTo>
                    <a:pt x="1343" y="656"/>
                  </a:lnTo>
                  <a:lnTo>
                    <a:pt x="1330" y="655"/>
                  </a:lnTo>
                  <a:lnTo>
                    <a:pt x="1262" y="611"/>
                  </a:lnTo>
                  <a:lnTo>
                    <a:pt x="1234" y="559"/>
                  </a:lnTo>
                  <a:lnTo>
                    <a:pt x="1221" y="528"/>
                  </a:lnTo>
                  <a:lnTo>
                    <a:pt x="1157" y="418"/>
                  </a:lnTo>
                  <a:lnTo>
                    <a:pt x="1144" y="397"/>
                  </a:lnTo>
                  <a:lnTo>
                    <a:pt x="1130" y="371"/>
                  </a:lnTo>
                  <a:lnTo>
                    <a:pt x="1090" y="341"/>
                  </a:lnTo>
                  <a:lnTo>
                    <a:pt x="1080" y="332"/>
                  </a:lnTo>
                  <a:lnTo>
                    <a:pt x="1036" y="331"/>
                  </a:lnTo>
                  <a:lnTo>
                    <a:pt x="1009" y="342"/>
                  </a:lnTo>
                  <a:lnTo>
                    <a:pt x="987" y="371"/>
                  </a:lnTo>
                  <a:lnTo>
                    <a:pt x="977" y="387"/>
                  </a:lnTo>
                  <a:lnTo>
                    <a:pt x="943" y="388"/>
                  </a:lnTo>
                  <a:lnTo>
                    <a:pt x="919" y="364"/>
                  </a:lnTo>
                  <a:lnTo>
                    <a:pt x="890" y="336"/>
                  </a:lnTo>
                  <a:lnTo>
                    <a:pt x="874" y="310"/>
                  </a:lnTo>
                  <a:lnTo>
                    <a:pt x="860" y="279"/>
                  </a:lnTo>
                  <a:lnTo>
                    <a:pt x="839" y="254"/>
                  </a:lnTo>
                  <a:lnTo>
                    <a:pt x="820" y="223"/>
                  </a:lnTo>
                  <a:lnTo>
                    <a:pt x="805" y="198"/>
                  </a:lnTo>
                  <a:lnTo>
                    <a:pt x="783" y="174"/>
                  </a:lnTo>
                  <a:lnTo>
                    <a:pt x="754" y="150"/>
                  </a:lnTo>
                  <a:lnTo>
                    <a:pt x="712" y="139"/>
                  </a:lnTo>
                  <a:lnTo>
                    <a:pt x="704" y="140"/>
                  </a:lnTo>
                  <a:lnTo>
                    <a:pt x="678" y="136"/>
                  </a:lnTo>
                  <a:lnTo>
                    <a:pt x="647" y="128"/>
                  </a:lnTo>
                  <a:lnTo>
                    <a:pt x="610" y="130"/>
                  </a:lnTo>
                  <a:lnTo>
                    <a:pt x="589" y="139"/>
                  </a:lnTo>
                  <a:lnTo>
                    <a:pt x="571" y="176"/>
                  </a:lnTo>
                  <a:lnTo>
                    <a:pt x="544" y="175"/>
                  </a:lnTo>
                  <a:lnTo>
                    <a:pt x="514" y="173"/>
                  </a:lnTo>
                  <a:lnTo>
                    <a:pt x="485" y="166"/>
                  </a:lnTo>
                  <a:lnTo>
                    <a:pt x="452" y="151"/>
                  </a:lnTo>
                  <a:lnTo>
                    <a:pt x="410" y="145"/>
                  </a:lnTo>
                  <a:lnTo>
                    <a:pt x="379" y="136"/>
                  </a:lnTo>
                  <a:lnTo>
                    <a:pt x="348" y="124"/>
                  </a:lnTo>
                  <a:lnTo>
                    <a:pt x="317" y="115"/>
                  </a:lnTo>
                  <a:lnTo>
                    <a:pt x="279" y="99"/>
                  </a:lnTo>
                  <a:lnTo>
                    <a:pt x="245" y="86"/>
                  </a:lnTo>
                  <a:lnTo>
                    <a:pt x="213" y="77"/>
                  </a:lnTo>
                  <a:lnTo>
                    <a:pt x="176" y="50"/>
                  </a:lnTo>
                  <a:lnTo>
                    <a:pt x="152" y="26"/>
                  </a:lnTo>
                  <a:lnTo>
                    <a:pt x="134" y="10"/>
                  </a:lnTo>
                  <a:lnTo>
                    <a:pt x="76" y="4"/>
                  </a:lnTo>
                  <a:lnTo>
                    <a:pt x="38" y="0"/>
                  </a:lnTo>
                  <a:lnTo>
                    <a:pt x="0" y="3"/>
                  </a:lnTo>
                  <a:lnTo>
                    <a:pt x="17" y="115"/>
                  </a:lnTo>
                  <a:lnTo>
                    <a:pt x="35" y="160"/>
                  </a:lnTo>
                  <a:lnTo>
                    <a:pt x="49" y="205"/>
                  </a:lnTo>
                  <a:lnTo>
                    <a:pt x="50" y="258"/>
                  </a:lnTo>
                  <a:lnTo>
                    <a:pt x="80" y="313"/>
                  </a:lnTo>
                  <a:lnTo>
                    <a:pt x="127" y="356"/>
                  </a:lnTo>
                  <a:lnTo>
                    <a:pt x="153" y="375"/>
                  </a:lnTo>
                  <a:lnTo>
                    <a:pt x="165" y="398"/>
                  </a:lnTo>
                  <a:lnTo>
                    <a:pt x="165" y="422"/>
                  </a:lnTo>
                  <a:lnTo>
                    <a:pt x="151" y="439"/>
                  </a:lnTo>
                  <a:lnTo>
                    <a:pt x="108" y="432"/>
                  </a:lnTo>
                  <a:lnTo>
                    <a:pt x="93" y="432"/>
                  </a:lnTo>
                  <a:lnTo>
                    <a:pt x="94" y="437"/>
                  </a:lnTo>
                  <a:lnTo>
                    <a:pt x="129" y="467"/>
                  </a:lnTo>
                  <a:lnTo>
                    <a:pt x="165" y="498"/>
                  </a:lnTo>
                  <a:lnTo>
                    <a:pt x="195" y="543"/>
                  </a:lnTo>
                  <a:lnTo>
                    <a:pt x="223" y="566"/>
                  </a:lnTo>
                  <a:lnTo>
                    <a:pt x="249" y="606"/>
                  </a:lnTo>
                  <a:lnTo>
                    <a:pt x="269" y="653"/>
                  </a:lnTo>
                  <a:lnTo>
                    <a:pt x="274" y="702"/>
                  </a:lnTo>
                  <a:lnTo>
                    <a:pt x="284" y="728"/>
                  </a:lnTo>
                  <a:lnTo>
                    <a:pt x="314" y="757"/>
                  </a:lnTo>
                  <a:lnTo>
                    <a:pt x="349" y="793"/>
                  </a:lnTo>
                  <a:lnTo>
                    <a:pt x="371" y="818"/>
                  </a:lnTo>
                  <a:lnTo>
                    <a:pt x="385" y="853"/>
                  </a:lnTo>
                  <a:lnTo>
                    <a:pt x="410" y="898"/>
                  </a:lnTo>
                  <a:lnTo>
                    <a:pt x="430" y="912"/>
                  </a:lnTo>
                  <a:lnTo>
                    <a:pt x="456" y="904"/>
                  </a:lnTo>
                  <a:lnTo>
                    <a:pt x="466" y="883"/>
                  </a:lnTo>
                  <a:lnTo>
                    <a:pt x="453" y="852"/>
                  </a:lnTo>
                  <a:lnTo>
                    <a:pt x="430" y="825"/>
                  </a:lnTo>
                  <a:lnTo>
                    <a:pt x="411" y="795"/>
                  </a:lnTo>
                  <a:lnTo>
                    <a:pt x="380" y="793"/>
                  </a:lnTo>
                  <a:lnTo>
                    <a:pt x="373" y="771"/>
                  </a:lnTo>
                  <a:lnTo>
                    <a:pt x="383" y="744"/>
                  </a:lnTo>
                  <a:lnTo>
                    <a:pt x="376" y="726"/>
                  </a:lnTo>
                  <a:lnTo>
                    <a:pt x="360" y="707"/>
                  </a:lnTo>
                  <a:lnTo>
                    <a:pt x="338" y="588"/>
                  </a:lnTo>
                  <a:lnTo>
                    <a:pt x="331" y="578"/>
                  </a:lnTo>
                  <a:lnTo>
                    <a:pt x="327" y="594"/>
                  </a:lnTo>
                  <a:lnTo>
                    <a:pt x="261" y="426"/>
                  </a:lnTo>
                  <a:lnTo>
                    <a:pt x="246" y="400"/>
                  </a:lnTo>
                  <a:lnTo>
                    <a:pt x="180" y="334"/>
                  </a:lnTo>
                  <a:lnTo>
                    <a:pt x="158" y="294"/>
                  </a:lnTo>
                  <a:lnTo>
                    <a:pt x="139" y="233"/>
                  </a:lnTo>
                  <a:lnTo>
                    <a:pt x="140" y="180"/>
                  </a:lnTo>
                  <a:lnTo>
                    <a:pt x="130" y="132"/>
                  </a:lnTo>
                  <a:lnTo>
                    <a:pt x="138" y="107"/>
                  </a:lnTo>
                  <a:lnTo>
                    <a:pt x="162" y="102"/>
                  </a:lnTo>
                  <a:lnTo>
                    <a:pt x="181" y="117"/>
                  </a:lnTo>
                  <a:lnTo>
                    <a:pt x="249" y="157"/>
                  </a:lnTo>
                  <a:lnTo>
                    <a:pt x="254" y="180"/>
                  </a:lnTo>
                  <a:lnTo>
                    <a:pt x="242" y="197"/>
                  </a:lnTo>
                  <a:lnTo>
                    <a:pt x="262" y="221"/>
                  </a:lnTo>
                  <a:lnTo>
                    <a:pt x="268" y="273"/>
                  </a:lnTo>
                  <a:lnTo>
                    <a:pt x="296" y="360"/>
                  </a:lnTo>
                  <a:lnTo>
                    <a:pt x="322" y="390"/>
                  </a:lnTo>
                  <a:lnTo>
                    <a:pt x="343" y="427"/>
                  </a:lnTo>
                  <a:lnTo>
                    <a:pt x="396" y="459"/>
                  </a:lnTo>
                  <a:lnTo>
                    <a:pt x="409" y="484"/>
                  </a:lnTo>
                  <a:lnTo>
                    <a:pt x="402" y="499"/>
                  </a:lnTo>
                  <a:lnTo>
                    <a:pt x="423" y="522"/>
                  </a:lnTo>
                  <a:lnTo>
                    <a:pt x="447" y="563"/>
                  </a:lnTo>
                  <a:lnTo>
                    <a:pt x="484" y="604"/>
                  </a:lnTo>
                  <a:lnTo>
                    <a:pt x="507" y="646"/>
                  </a:lnTo>
                  <a:lnTo>
                    <a:pt x="496" y="667"/>
                  </a:lnTo>
                  <a:lnTo>
                    <a:pt x="547" y="703"/>
                  </a:lnTo>
                  <a:lnTo>
                    <a:pt x="597" y="773"/>
                  </a:lnTo>
                  <a:lnTo>
                    <a:pt x="641" y="828"/>
                  </a:lnTo>
                  <a:lnTo>
                    <a:pt x="682" y="887"/>
                  </a:lnTo>
                  <a:lnTo>
                    <a:pt x="703" y="912"/>
                  </a:lnTo>
                  <a:lnTo>
                    <a:pt x="732" y="949"/>
                  </a:lnTo>
                  <a:lnTo>
                    <a:pt x="757" y="1031"/>
                  </a:lnTo>
                  <a:lnTo>
                    <a:pt x="783" y="1061"/>
                  </a:lnTo>
                  <a:lnTo>
                    <a:pt x="799" y="1100"/>
                  </a:lnTo>
                  <a:lnTo>
                    <a:pt x="796" y="1105"/>
                  </a:lnTo>
                  <a:lnTo>
                    <a:pt x="770" y="1119"/>
                  </a:lnTo>
                  <a:lnTo>
                    <a:pt x="757" y="1132"/>
                  </a:lnTo>
                  <a:lnTo>
                    <a:pt x="766" y="1179"/>
                  </a:lnTo>
                  <a:lnTo>
                    <a:pt x="799" y="1211"/>
                  </a:lnTo>
                  <a:lnTo>
                    <a:pt x="822" y="1235"/>
                  </a:lnTo>
                  <a:lnTo>
                    <a:pt x="866" y="1265"/>
                  </a:lnTo>
                  <a:lnTo>
                    <a:pt x="896" y="1279"/>
                  </a:lnTo>
                  <a:lnTo>
                    <a:pt x="917" y="1304"/>
                  </a:lnTo>
                  <a:lnTo>
                    <a:pt x="955" y="1332"/>
                  </a:lnTo>
                  <a:lnTo>
                    <a:pt x="989" y="1337"/>
                  </a:lnTo>
                  <a:lnTo>
                    <a:pt x="1027" y="1340"/>
                  </a:lnTo>
                  <a:lnTo>
                    <a:pt x="1053" y="1355"/>
                  </a:lnTo>
                  <a:lnTo>
                    <a:pt x="1086" y="1371"/>
                  </a:lnTo>
                  <a:lnTo>
                    <a:pt x="1120" y="1395"/>
                  </a:lnTo>
                  <a:lnTo>
                    <a:pt x="1152" y="1412"/>
                  </a:lnTo>
                  <a:lnTo>
                    <a:pt x="1167" y="1419"/>
                  </a:lnTo>
                  <a:lnTo>
                    <a:pt x="1198" y="1436"/>
                  </a:lnTo>
                  <a:lnTo>
                    <a:pt x="1230" y="1449"/>
                  </a:lnTo>
                  <a:lnTo>
                    <a:pt x="1262" y="1458"/>
                  </a:lnTo>
                  <a:lnTo>
                    <a:pt x="1303" y="1459"/>
                  </a:lnTo>
                  <a:lnTo>
                    <a:pt x="1353" y="1493"/>
                  </a:lnTo>
                  <a:lnTo>
                    <a:pt x="1398" y="1499"/>
                  </a:lnTo>
                  <a:lnTo>
                    <a:pt x="1443" y="1520"/>
                  </a:lnTo>
                  <a:lnTo>
                    <a:pt x="1488" y="1525"/>
                  </a:lnTo>
                  <a:lnTo>
                    <a:pt x="1521" y="1524"/>
                  </a:lnTo>
                  <a:lnTo>
                    <a:pt x="1560" y="1522"/>
                  </a:lnTo>
                  <a:lnTo>
                    <a:pt x="1626" y="1498"/>
                  </a:lnTo>
                  <a:lnTo>
                    <a:pt x="1658" y="1498"/>
                  </a:lnTo>
                  <a:lnTo>
                    <a:pt x="1678" y="1503"/>
                  </a:lnTo>
                  <a:lnTo>
                    <a:pt x="1713" y="1510"/>
                  </a:lnTo>
                  <a:lnTo>
                    <a:pt x="1737" y="1530"/>
                  </a:lnTo>
                  <a:lnTo>
                    <a:pt x="1772" y="1561"/>
                  </a:lnTo>
                  <a:lnTo>
                    <a:pt x="1800" y="1586"/>
                  </a:lnTo>
                  <a:lnTo>
                    <a:pt x="1834" y="1617"/>
                  </a:lnTo>
                  <a:lnTo>
                    <a:pt x="1859" y="1641"/>
                  </a:lnTo>
                  <a:lnTo>
                    <a:pt x="1869" y="1649"/>
                  </a:lnTo>
                  <a:lnTo>
                    <a:pt x="1875" y="1618"/>
                  </a:lnTo>
                  <a:lnTo>
                    <a:pt x="1868" y="1597"/>
                  </a:lnTo>
                  <a:lnTo>
                    <a:pt x="1864" y="1579"/>
                  </a:lnTo>
                  <a:lnTo>
                    <a:pt x="1869" y="1554"/>
                  </a:lnTo>
                  <a:lnTo>
                    <a:pt x="1883" y="1543"/>
                  </a:lnTo>
                  <a:lnTo>
                    <a:pt x="1989" y="1529"/>
                  </a:lnTo>
                  <a:lnTo>
                    <a:pt x="2002" y="1523"/>
                  </a:lnTo>
                  <a:lnTo>
                    <a:pt x="2003" y="1499"/>
                  </a:lnTo>
                  <a:lnTo>
                    <a:pt x="2019" y="1483"/>
                  </a:lnTo>
                  <a:lnTo>
                    <a:pt x="2024" y="1471"/>
                  </a:lnTo>
                  <a:lnTo>
                    <a:pt x="2005" y="1468"/>
                  </a:lnTo>
                  <a:lnTo>
                    <a:pt x="1987" y="1454"/>
                  </a:lnTo>
                  <a:lnTo>
                    <a:pt x="1975" y="1435"/>
                  </a:lnTo>
                  <a:lnTo>
                    <a:pt x="1966" y="1410"/>
                  </a:lnTo>
                  <a:lnTo>
                    <a:pt x="1961" y="1377"/>
                  </a:lnTo>
                  <a:lnTo>
                    <a:pt x="2010" y="1366"/>
                  </a:lnTo>
                  <a:lnTo>
                    <a:pt x="2083" y="1352"/>
                  </a:lnTo>
                  <a:lnTo>
                    <a:pt x="2128" y="1345"/>
                  </a:lnTo>
                  <a:lnTo>
                    <a:pt x="2144" y="1316"/>
                  </a:lnTo>
                  <a:lnTo>
                    <a:pt x="2158" y="1309"/>
                  </a:lnTo>
                  <a:lnTo>
                    <a:pt x="2178" y="1315"/>
                  </a:lnTo>
                  <a:lnTo>
                    <a:pt x="2185" y="1293"/>
                  </a:lnTo>
                  <a:lnTo>
                    <a:pt x="2194" y="1310"/>
                  </a:lnTo>
                  <a:lnTo>
                    <a:pt x="2206" y="1323"/>
                  </a:lnTo>
                  <a:lnTo>
                    <a:pt x="2219" y="1321"/>
                  </a:lnTo>
                  <a:lnTo>
                    <a:pt x="2228" y="1306"/>
                  </a:lnTo>
                  <a:lnTo>
                    <a:pt x="2223" y="1280"/>
                  </a:lnTo>
                  <a:lnTo>
                    <a:pt x="2217" y="1252"/>
                  </a:lnTo>
                  <a:lnTo>
                    <a:pt x="2228" y="1226"/>
                  </a:lnTo>
                  <a:lnTo>
                    <a:pt x="2226" y="1210"/>
                  </a:lnTo>
                  <a:lnTo>
                    <a:pt x="2216" y="1194"/>
                  </a:lnTo>
                  <a:lnTo>
                    <a:pt x="2199" y="1155"/>
                  </a:lnTo>
                  <a:lnTo>
                    <a:pt x="2204" y="1134"/>
                  </a:lnTo>
                  <a:lnTo>
                    <a:pt x="2236" y="1102"/>
                  </a:lnTo>
                  <a:lnTo>
                    <a:pt x="2252" y="1066"/>
                  </a:lnTo>
                  <a:lnTo>
                    <a:pt x="2253" y="1029"/>
                  </a:lnTo>
                  <a:lnTo>
                    <a:pt x="2241" y="1014"/>
                  </a:lnTo>
                  <a:lnTo>
                    <a:pt x="2206" y="1012"/>
                  </a:lnTo>
                  <a:lnTo>
                    <a:pt x="2166" y="1014"/>
                  </a:lnTo>
                  <a:lnTo>
                    <a:pt x="2067" y="1028"/>
                  </a:lnTo>
                  <a:lnTo>
                    <a:pt x="2004" y="1050"/>
                  </a:lnTo>
                  <a:lnTo>
                    <a:pt x="1975" y="1064"/>
                  </a:lnTo>
                  <a:lnTo>
                    <a:pt x="1967" y="1075"/>
                  </a:lnTo>
                  <a:lnTo>
                    <a:pt x="1959" y="1105"/>
                  </a:lnTo>
                  <a:lnTo>
                    <a:pt x="1965" y="1135"/>
                  </a:lnTo>
                  <a:lnTo>
                    <a:pt x="1982" y="1153"/>
                  </a:lnTo>
                  <a:lnTo>
                    <a:pt x="1987" y="1174"/>
                  </a:lnTo>
                  <a:lnTo>
                    <a:pt x="1972" y="1197"/>
                  </a:lnTo>
                  <a:lnTo>
                    <a:pt x="1941" y="1205"/>
                  </a:lnTo>
                  <a:lnTo>
                    <a:pt x="1915" y="1244"/>
                  </a:lnTo>
                  <a:lnTo>
                    <a:pt x="1923" y="1269"/>
                  </a:lnTo>
                  <a:lnTo>
                    <a:pt x="1908" y="1286"/>
                  </a:lnTo>
                  <a:lnTo>
                    <a:pt x="1881" y="1291"/>
                  </a:lnTo>
                  <a:lnTo>
                    <a:pt x="1863" y="1273"/>
                  </a:lnTo>
                  <a:lnTo>
                    <a:pt x="1805" y="1274"/>
                  </a:lnTo>
                  <a:lnTo>
                    <a:pt x="1781" y="1291"/>
                  </a:lnTo>
                  <a:lnTo>
                    <a:pt x="1749" y="1296"/>
                  </a:lnTo>
                  <a:lnTo>
                    <a:pt x="1688" y="1314"/>
                  </a:lnTo>
                  <a:lnTo>
                    <a:pt x="1662" y="1312"/>
                  </a:lnTo>
                  <a:lnTo>
                    <a:pt x="1644" y="1301"/>
                  </a:lnTo>
                  <a:lnTo>
                    <a:pt x="1634" y="1273"/>
                  </a:lnTo>
                  <a:lnTo>
                    <a:pt x="1604" y="1273"/>
                  </a:lnTo>
                  <a:lnTo>
                    <a:pt x="1564" y="1275"/>
                  </a:lnTo>
                  <a:lnTo>
                    <a:pt x="1550" y="1270"/>
                  </a:lnTo>
                  <a:close/>
                </a:path>
              </a:pathLst>
            </a:custGeom>
            <a:noFill/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9" name="Google Shape;532;p19">
              <a:extLst>
                <a:ext uri="{FF2B5EF4-FFF2-40B4-BE49-F238E27FC236}">
                  <a16:creationId xmlns:a16="http://schemas.microsoft.com/office/drawing/2014/main" id="{4187D4E7-2EB2-4CF2-BD3C-70AC5BACBF72}"/>
                </a:ext>
              </a:extLst>
            </p:cNvPr>
            <p:cNvSpPr/>
            <p:nvPr/>
          </p:nvSpPr>
          <p:spPr>
            <a:xfrm>
              <a:off x="2095" y="1771"/>
              <a:ext cx="641" cy="434"/>
            </a:xfrm>
            <a:custGeom>
              <a:avLst/>
              <a:gdLst/>
              <a:ahLst/>
              <a:cxnLst/>
              <a:rect l="l" t="t" r="r" b="b"/>
              <a:pathLst>
                <a:path w="2253" h="1649" extrusionOk="0">
                  <a:moveTo>
                    <a:pt x="1550" y="1270"/>
                  </a:moveTo>
                  <a:lnTo>
                    <a:pt x="1516" y="1214"/>
                  </a:lnTo>
                  <a:lnTo>
                    <a:pt x="1498" y="1184"/>
                  </a:lnTo>
                  <a:lnTo>
                    <a:pt x="1469" y="1154"/>
                  </a:lnTo>
                  <a:lnTo>
                    <a:pt x="1449" y="1133"/>
                  </a:lnTo>
                  <a:lnTo>
                    <a:pt x="1428" y="1127"/>
                  </a:lnTo>
                  <a:lnTo>
                    <a:pt x="1426" y="1088"/>
                  </a:lnTo>
                  <a:lnTo>
                    <a:pt x="1412" y="1039"/>
                  </a:lnTo>
                  <a:lnTo>
                    <a:pt x="1397" y="1032"/>
                  </a:lnTo>
                  <a:lnTo>
                    <a:pt x="1375" y="1013"/>
                  </a:lnTo>
                  <a:lnTo>
                    <a:pt x="1371" y="985"/>
                  </a:lnTo>
                  <a:lnTo>
                    <a:pt x="1380" y="956"/>
                  </a:lnTo>
                  <a:lnTo>
                    <a:pt x="1367" y="886"/>
                  </a:lnTo>
                  <a:lnTo>
                    <a:pt x="1360" y="809"/>
                  </a:lnTo>
                  <a:lnTo>
                    <a:pt x="1366" y="749"/>
                  </a:lnTo>
                  <a:lnTo>
                    <a:pt x="1395" y="705"/>
                  </a:lnTo>
                  <a:lnTo>
                    <a:pt x="1402" y="690"/>
                  </a:lnTo>
                  <a:lnTo>
                    <a:pt x="1383" y="663"/>
                  </a:lnTo>
                  <a:lnTo>
                    <a:pt x="1377" y="660"/>
                  </a:lnTo>
                  <a:lnTo>
                    <a:pt x="1343" y="656"/>
                  </a:lnTo>
                  <a:lnTo>
                    <a:pt x="1330" y="655"/>
                  </a:lnTo>
                  <a:lnTo>
                    <a:pt x="1262" y="611"/>
                  </a:lnTo>
                  <a:lnTo>
                    <a:pt x="1234" y="559"/>
                  </a:lnTo>
                  <a:lnTo>
                    <a:pt x="1221" y="528"/>
                  </a:lnTo>
                  <a:lnTo>
                    <a:pt x="1157" y="418"/>
                  </a:lnTo>
                  <a:lnTo>
                    <a:pt x="1144" y="397"/>
                  </a:lnTo>
                  <a:lnTo>
                    <a:pt x="1130" y="371"/>
                  </a:lnTo>
                  <a:lnTo>
                    <a:pt x="1090" y="341"/>
                  </a:lnTo>
                  <a:lnTo>
                    <a:pt x="1080" y="332"/>
                  </a:lnTo>
                  <a:lnTo>
                    <a:pt x="1036" y="331"/>
                  </a:lnTo>
                  <a:lnTo>
                    <a:pt x="1009" y="342"/>
                  </a:lnTo>
                  <a:lnTo>
                    <a:pt x="987" y="371"/>
                  </a:lnTo>
                  <a:lnTo>
                    <a:pt x="977" y="387"/>
                  </a:lnTo>
                  <a:lnTo>
                    <a:pt x="943" y="388"/>
                  </a:lnTo>
                  <a:lnTo>
                    <a:pt x="919" y="364"/>
                  </a:lnTo>
                  <a:lnTo>
                    <a:pt x="890" y="336"/>
                  </a:lnTo>
                  <a:lnTo>
                    <a:pt x="874" y="310"/>
                  </a:lnTo>
                  <a:lnTo>
                    <a:pt x="860" y="279"/>
                  </a:lnTo>
                  <a:lnTo>
                    <a:pt x="839" y="254"/>
                  </a:lnTo>
                  <a:lnTo>
                    <a:pt x="820" y="223"/>
                  </a:lnTo>
                  <a:lnTo>
                    <a:pt x="805" y="198"/>
                  </a:lnTo>
                  <a:lnTo>
                    <a:pt x="783" y="174"/>
                  </a:lnTo>
                  <a:lnTo>
                    <a:pt x="754" y="150"/>
                  </a:lnTo>
                  <a:lnTo>
                    <a:pt x="712" y="139"/>
                  </a:lnTo>
                  <a:lnTo>
                    <a:pt x="704" y="140"/>
                  </a:lnTo>
                  <a:lnTo>
                    <a:pt x="678" y="136"/>
                  </a:lnTo>
                  <a:lnTo>
                    <a:pt x="647" y="128"/>
                  </a:lnTo>
                  <a:lnTo>
                    <a:pt x="610" y="130"/>
                  </a:lnTo>
                  <a:lnTo>
                    <a:pt x="589" y="139"/>
                  </a:lnTo>
                  <a:lnTo>
                    <a:pt x="571" y="176"/>
                  </a:lnTo>
                  <a:lnTo>
                    <a:pt x="544" y="175"/>
                  </a:lnTo>
                  <a:lnTo>
                    <a:pt x="514" y="173"/>
                  </a:lnTo>
                  <a:lnTo>
                    <a:pt x="485" y="166"/>
                  </a:lnTo>
                  <a:lnTo>
                    <a:pt x="452" y="151"/>
                  </a:lnTo>
                  <a:lnTo>
                    <a:pt x="410" y="145"/>
                  </a:lnTo>
                  <a:lnTo>
                    <a:pt x="379" y="136"/>
                  </a:lnTo>
                  <a:lnTo>
                    <a:pt x="348" y="124"/>
                  </a:lnTo>
                  <a:lnTo>
                    <a:pt x="317" y="115"/>
                  </a:lnTo>
                  <a:lnTo>
                    <a:pt x="279" y="99"/>
                  </a:lnTo>
                  <a:lnTo>
                    <a:pt x="245" y="86"/>
                  </a:lnTo>
                  <a:lnTo>
                    <a:pt x="213" y="77"/>
                  </a:lnTo>
                  <a:lnTo>
                    <a:pt x="176" y="50"/>
                  </a:lnTo>
                  <a:lnTo>
                    <a:pt x="152" y="26"/>
                  </a:lnTo>
                  <a:lnTo>
                    <a:pt x="134" y="10"/>
                  </a:lnTo>
                  <a:lnTo>
                    <a:pt x="76" y="4"/>
                  </a:lnTo>
                  <a:lnTo>
                    <a:pt x="38" y="0"/>
                  </a:lnTo>
                  <a:lnTo>
                    <a:pt x="0" y="3"/>
                  </a:lnTo>
                  <a:lnTo>
                    <a:pt x="17" y="115"/>
                  </a:lnTo>
                  <a:lnTo>
                    <a:pt x="35" y="160"/>
                  </a:lnTo>
                  <a:lnTo>
                    <a:pt x="49" y="205"/>
                  </a:lnTo>
                  <a:lnTo>
                    <a:pt x="50" y="258"/>
                  </a:lnTo>
                  <a:lnTo>
                    <a:pt x="80" y="313"/>
                  </a:lnTo>
                  <a:lnTo>
                    <a:pt x="127" y="356"/>
                  </a:lnTo>
                  <a:lnTo>
                    <a:pt x="153" y="375"/>
                  </a:lnTo>
                  <a:lnTo>
                    <a:pt x="165" y="398"/>
                  </a:lnTo>
                  <a:lnTo>
                    <a:pt x="165" y="422"/>
                  </a:lnTo>
                  <a:lnTo>
                    <a:pt x="151" y="439"/>
                  </a:lnTo>
                  <a:lnTo>
                    <a:pt x="108" y="432"/>
                  </a:lnTo>
                  <a:lnTo>
                    <a:pt x="93" y="432"/>
                  </a:lnTo>
                  <a:lnTo>
                    <a:pt x="94" y="437"/>
                  </a:lnTo>
                  <a:lnTo>
                    <a:pt x="129" y="467"/>
                  </a:lnTo>
                  <a:lnTo>
                    <a:pt x="165" y="498"/>
                  </a:lnTo>
                  <a:lnTo>
                    <a:pt x="195" y="543"/>
                  </a:lnTo>
                  <a:lnTo>
                    <a:pt x="223" y="566"/>
                  </a:lnTo>
                  <a:lnTo>
                    <a:pt x="249" y="606"/>
                  </a:lnTo>
                  <a:lnTo>
                    <a:pt x="269" y="653"/>
                  </a:lnTo>
                  <a:lnTo>
                    <a:pt x="274" y="702"/>
                  </a:lnTo>
                  <a:lnTo>
                    <a:pt x="284" y="728"/>
                  </a:lnTo>
                  <a:lnTo>
                    <a:pt x="314" y="757"/>
                  </a:lnTo>
                  <a:lnTo>
                    <a:pt x="349" y="793"/>
                  </a:lnTo>
                  <a:lnTo>
                    <a:pt x="371" y="818"/>
                  </a:lnTo>
                  <a:lnTo>
                    <a:pt x="385" y="853"/>
                  </a:lnTo>
                  <a:lnTo>
                    <a:pt x="410" y="898"/>
                  </a:lnTo>
                  <a:lnTo>
                    <a:pt x="430" y="912"/>
                  </a:lnTo>
                  <a:lnTo>
                    <a:pt x="456" y="904"/>
                  </a:lnTo>
                  <a:lnTo>
                    <a:pt x="466" y="883"/>
                  </a:lnTo>
                  <a:lnTo>
                    <a:pt x="453" y="852"/>
                  </a:lnTo>
                  <a:lnTo>
                    <a:pt x="430" y="825"/>
                  </a:lnTo>
                  <a:lnTo>
                    <a:pt x="411" y="795"/>
                  </a:lnTo>
                  <a:lnTo>
                    <a:pt x="380" y="793"/>
                  </a:lnTo>
                  <a:lnTo>
                    <a:pt x="373" y="771"/>
                  </a:lnTo>
                  <a:lnTo>
                    <a:pt x="383" y="744"/>
                  </a:lnTo>
                  <a:lnTo>
                    <a:pt x="376" y="726"/>
                  </a:lnTo>
                  <a:lnTo>
                    <a:pt x="360" y="707"/>
                  </a:lnTo>
                  <a:lnTo>
                    <a:pt x="338" y="588"/>
                  </a:lnTo>
                  <a:lnTo>
                    <a:pt x="331" y="578"/>
                  </a:lnTo>
                  <a:lnTo>
                    <a:pt x="327" y="594"/>
                  </a:lnTo>
                  <a:lnTo>
                    <a:pt x="261" y="426"/>
                  </a:lnTo>
                  <a:lnTo>
                    <a:pt x="246" y="400"/>
                  </a:lnTo>
                  <a:lnTo>
                    <a:pt x="180" y="334"/>
                  </a:lnTo>
                  <a:lnTo>
                    <a:pt x="158" y="294"/>
                  </a:lnTo>
                  <a:lnTo>
                    <a:pt x="139" y="233"/>
                  </a:lnTo>
                  <a:lnTo>
                    <a:pt x="140" y="180"/>
                  </a:lnTo>
                  <a:lnTo>
                    <a:pt x="130" y="132"/>
                  </a:lnTo>
                  <a:lnTo>
                    <a:pt x="138" y="107"/>
                  </a:lnTo>
                  <a:lnTo>
                    <a:pt x="162" y="102"/>
                  </a:lnTo>
                  <a:lnTo>
                    <a:pt x="181" y="117"/>
                  </a:lnTo>
                  <a:lnTo>
                    <a:pt x="249" y="157"/>
                  </a:lnTo>
                  <a:lnTo>
                    <a:pt x="254" y="180"/>
                  </a:lnTo>
                  <a:lnTo>
                    <a:pt x="242" y="197"/>
                  </a:lnTo>
                  <a:lnTo>
                    <a:pt x="262" y="221"/>
                  </a:lnTo>
                  <a:lnTo>
                    <a:pt x="268" y="273"/>
                  </a:lnTo>
                  <a:lnTo>
                    <a:pt x="296" y="360"/>
                  </a:lnTo>
                  <a:lnTo>
                    <a:pt x="322" y="390"/>
                  </a:lnTo>
                  <a:lnTo>
                    <a:pt x="343" y="427"/>
                  </a:lnTo>
                  <a:lnTo>
                    <a:pt x="396" y="459"/>
                  </a:lnTo>
                  <a:lnTo>
                    <a:pt x="409" y="484"/>
                  </a:lnTo>
                  <a:lnTo>
                    <a:pt x="402" y="499"/>
                  </a:lnTo>
                  <a:lnTo>
                    <a:pt x="423" y="522"/>
                  </a:lnTo>
                  <a:lnTo>
                    <a:pt x="447" y="563"/>
                  </a:lnTo>
                  <a:lnTo>
                    <a:pt x="484" y="604"/>
                  </a:lnTo>
                  <a:lnTo>
                    <a:pt x="507" y="646"/>
                  </a:lnTo>
                  <a:lnTo>
                    <a:pt x="496" y="667"/>
                  </a:lnTo>
                  <a:lnTo>
                    <a:pt x="547" y="703"/>
                  </a:lnTo>
                  <a:lnTo>
                    <a:pt x="597" y="773"/>
                  </a:lnTo>
                  <a:lnTo>
                    <a:pt x="641" y="828"/>
                  </a:lnTo>
                  <a:lnTo>
                    <a:pt x="682" y="887"/>
                  </a:lnTo>
                  <a:lnTo>
                    <a:pt x="703" y="912"/>
                  </a:lnTo>
                  <a:lnTo>
                    <a:pt x="732" y="949"/>
                  </a:lnTo>
                  <a:lnTo>
                    <a:pt x="757" y="1031"/>
                  </a:lnTo>
                  <a:lnTo>
                    <a:pt x="783" y="1061"/>
                  </a:lnTo>
                  <a:lnTo>
                    <a:pt x="799" y="1100"/>
                  </a:lnTo>
                  <a:lnTo>
                    <a:pt x="796" y="1105"/>
                  </a:lnTo>
                  <a:lnTo>
                    <a:pt x="770" y="1119"/>
                  </a:lnTo>
                  <a:lnTo>
                    <a:pt x="757" y="1132"/>
                  </a:lnTo>
                  <a:lnTo>
                    <a:pt x="766" y="1179"/>
                  </a:lnTo>
                  <a:lnTo>
                    <a:pt x="799" y="1211"/>
                  </a:lnTo>
                  <a:lnTo>
                    <a:pt x="822" y="1235"/>
                  </a:lnTo>
                  <a:lnTo>
                    <a:pt x="866" y="1265"/>
                  </a:lnTo>
                  <a:lnTo>
                    <a:pt x="896" y="1279"/>
                  </a:lnTo>
                  <a:lnTo>
                    <a:pt x="917" y="1304"/>
                  </a:lnTo>
                  <a:lnTo>
                    <a:pt x="955" y="1332"/>
                  </a:lnTo>
                  <a:lnTo>
                    <a:pt x="989" y="1337"/>
                  </a:lnTo>
                  <a:lnTo>
                    <a:pt x="1027" y="1340"/>
                  </a:lnTo>
                  <a:lnTo>
                    <a:pt x="1053" y="1355"/>
                  </a:lnTo>
                  <a:lnTo>
                    <a:pt x="1086" y="1371"/>
                  </a:lnTo>
                  <a:lnTo>
                    <a:pt x="1120" y="1395"/>
                  </a:lnTo>
                  <a:lnTo>
                    <a:pt x="1152" y="1412"/>
                  </a:lnTo>
                  <a:lnTo>
                    <a:pt x="1167" y="1419"/>
                  </a:lnTo>
                  <a:lnTo>
                    <a:pt x="1198" y="1436"/>
                  </a:lnTo>
                  <a:lnTo>
                    <a:pt x="1230" y="1449"/>
                  </a:lnTo>
                  <a:lnTo>
                    <a:pt x="1262" y="1458"/>
                  </a:lnTo>
                  <a:lnTo>
                    <a:pt x="1303" y="1459"/>
                  </a:lnTo>
                  <a:lnTo>
                    <a:pt x="1353" y="1493"/>
                  </a:lnTo>
                  <a:lnTo>
                    <a:pt x="1398" y="1499"/>
                  </a:lnTo>
                  <a:lnTo>
                    <a:pt x="1443" y="1520"/>
                  </a:lnTo>
                  <a:lnTo>
                    <a:pt x="1488" y="1525"/>
                  </a:lnTo>
                  <a:lnTo>
                    <a:pt x="1521" y="1524"/>
                  </a:lnTo>
                  <a:lnTo>
                    <a:pt x="1560" y="1522"/>
                  </a:lnTo>
                  <a:lnTo>
                    <a:pt x="1626" y="1498"/>
                  </a:lnTo>
                  <a:lnTo>
                    <a:pt x="1658" y="1498"/>
                  </a:lnTo>
                  <a:lnTo>
                    <a:pt x="1678" y="1503"/>
                  </a:lnTo>
                  <a:lnTo>
                    <a:pt x="1713" y="1510"/>
                  </a:lnTo>
                  <a:lnTo>
                    <a:pt x="1737" y="1530"/>
                  </a:lnTo>
                  <a:lnTo>
                    <a:pt x="1772" y="1561"/>
                  </a:lnTo>
                  <a:lnTo>
                    <a:pt x="1800" y="1586"/>
                  </a:lnTo>
                  <a:lnTo>
                    <a:pt x="1834" y="1617"/>
                  </a:lnTo>
                  <a:lnTo>
                    <a:pt x="1859" y="1641"/>
                  </a:lnTo>
                  <a:lnTo>
                    <a:pt x="1869" y="1649"/>
                  </a:lnTo>
                  <a:lnTo>
                    <a:pt x="1875" y="1618"/>
                  </a:lnTo>
                  <a:lnTo>
                    <a:pt x="1868" y="1597"/>
                  </a:lnTo>
                  <a:lnTo>
                    <a:pt x="1864" y="1579"/>
                  </a:lnTo>
                  <a:lnTo>
                    <a:pt x="1869" y="1554"/>
                  </a:lnTo>
                  <a:lnTo>
                    <a:pt x="1883" y="1543"/>
                  </a:lnTo>
                  <a:lnTo>
                    <a:pt x="1989" y="1529"/>
                  </a:lnTo>
                  <a:lnTo>
                    <a:pt x="2002" y="1523"/>
                  </a:lnTo>
                  <a:lnTo>
                    <a:pt x="2003" y="1499"/>
                  </a:lnTo>
                  <a:lnTo>
                    <a:pt x="2019" y="1483"/>
                  </a:lnTo>
                  <a:lnTo>
                    <a:pt x="2024" y="1471"/>
                  </a:lnTo>
                  <a:lnTo>
                    <a:pt x="2005" y="1468"/>
                  </a:lnTo>
                  <a:lnTo>
                    <a:pt x="1987" y="1454"/>
                  </a:lnTo>
                  <a:lnTo>
                    <a:pt x="1975" y="1435"/>
                  </a:lnTo>
                  <a:lnTo>
                    <a:pt x="1966" y="1410"/>
                  </a:lnTo>
                  <a:lnTo>
                    <a:pt x="1961" y="1377"/>
                  </a:lnTo>
                  <a:lnTo>
                    <a:pt x="2010" y="1366"/>
                  </a:lnTo>
                  <a:lnTo>
                    <a:pt x="2083" y="1352"/>
                  </a:lnTo>
                  <a:lnTo>
                    <a:pt x="2128" y="1345"/>
                  </a:lnTo>
                  <a:lnTo>
                    <a:pt x="2144" y="1316"/>
                  </a:lnTo>
                  <a:lnTo>
                    <a:pt x="2158" y="1309"/>
                  </a:lnTo>
                  <a:lnTo>
                    <a:pt x="2178" y="1315"/>
                  </a:lnTo>
                  <a:lnTo>
                    <a:pt x="2185" y="1293"/>
                  </a:lnTo>
                  <a:lnTo>
                    <a:pt x="2194" y="1310"/>
                  </a:lnTo>
                  <a:lnTo>
                    <a:pt x="2206" y="1323"/>
                  </a:lnTo>
                  <a:lnTo>
                    <a:pt x="2219" y="1321"/>
                  </a:lnTo>
                  <a:lnTo>
                    <a:pt x="2228" y="1306"/>
                  </a:lnTo>
                  <a:lnTo>
                    <a:pt x="2223" y="1280"/>
                  </a:lnTo>
                  <a:lnTo>
                    <a:pt x="2217" y="1252"/>
                  </a:lnTo>
                  <a:lnTo>
                    <a:pt x="2228" y="1226"/>
                  </a:lnTo>
                  <a:lnTo>
                    <a:pt x="2226" y="1210"/>
                  </a:lnTo>
                  <a:lnTo>
                    <a:pt x="2216" y="1194"/>
                  </a:lnTo>
                  <a:lnTo>
                    <a:pt x="2199" y="1155"/>
                  </a:lnTo>
                  <a:lnTo>
                    <a:pt x="2204" y="1134"/>
                  </a:lnTo>
                  <a:lnTo>
                    <a:pt x="2236" y="1102"/>
                  </a:lnTo>
                  <a:lnTo>
                    <a:pt x="2252" y="1066"/>
                  </a:lnTo>
                  <a:lnTo>
                    <a:pt x="2253" y="1029"/>
                  </a:lnTo>
                  <a:lnTo>
                    <a:pt x="2241" y="1014"/>
                  </a:lnTo>
                  <a:lnTo>
                    <a:pt x="2206" y="1012"/>
                  </a:lnTo>
                  <a:lnTo>
                    <a:pt x="2166" y="1014"/>
                  </a:lnTo>
                  <a:lnTo>
                    <a:pt x="2067" y="1028"/>
                  </a:lnTo>
                  <a:lnTo>
                    <a:pt x="2004" y="1050"/>
                  </a:lnTo>
                  <a:lnTo>
                    <a:pt x="1975" y="1064"/>
                  </a:lnTo>
                  <a:lnTo>
                    <a:pt x="1967" y="1075"/>
                  </a:lnTo>
                  <a:lnTo>
                    <a:pt x="1959" y="1105"/>
                  </a:lnTo>
                  <a:lnTo>
                    <a:pt x="1965" y="1135"/>
                  </a:lnTo>
                  <a:lnTo>
                    <a:pt x="1982" y="1153"/>
                  </a:lnTo>
                  <a:lnTo>
                    <a:pt x="1987" y="1174"/>
                  </a:lnTo>
                  <a:lnTo>
                    <a:pt x="1972" y="1197"/>
                  </a:lnTo>
                  <a:lnTo>
                    <a:pt x="1941" y="1205"/>
                  </a:lnTo>
                  <a:lnTo>
                    <a:pt x="1915" y="1244"/>
                  </a:lnTo>
                  <a:lnTo>
                    <a:pt x="1923" y="1269"/>
                  </a:lnTo>
                  <a:lnTo>
                    <a:pt x="1908" y="1286"/>
                  </a:lnTo>
                  <a:lnTo>
                    <a:pt x="1881" y="1291"/>
                  </a:lnTo>
                  <a:lnTo>
                    <a:pt x="1863" y="1273"/>
                  </a:lnTo>
                  <a:lnTo>
                    <a:pt x="1805" y="1274"/>
                  </a:lnTo>
                  <a:lnTo>
                    <a:pt x="1781" y="1291"/>
                  </a:lnTo>
                  <a:lnTo>
                    <a:pt x="1749" y="1296"/>
                  </a:lnTo>
                  <a:lnTo>
                    <a:pt x="1688" y="1314"/>
                  </a:lnTo>
                  <a:lnTo>
                    <a:pt x="1662" y="1312"/>
                  </a:lnTo>
                  <a:lnTo>
                    <a:pt x="1644" y="1301"/>
                  </a:lnTo>
                  <a:lnTo>
                    <a:pt x="1634" y="1273"/>
                  </a:lnTo>
                  <a:lnTo>
                    <a:pt x="1604" y="1273"/>
                  </a:lnTo>
                  <a:lnTo>
                    <a:pt x="1564" y="1275"/>
                  </a:lnTo>
                  <a:lnTo>
                    <a:pt x="1550" y="1270"/>
                  </a:lnTo>
                </a:path>
              </a:pathLst>
            </a:custGeom>
            <a:solidFill>
              <a:srgbClr val="0070C0"/>
            </a:solidFill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0" name="Google Shape;533;p19">
              <a:extLst>
                <a:ext uri="{FF2B5EF4-FFF2-40B4-BE49-F238E27FC236}">
                  <a16:creationId xmlns:a16="http://schemas.microsoft.com/office/drawing/2014/main" id="{B4617249-EE01-4045-A117-11B4271B463F}"/>
                </a:ext>
              </a:extLst>
            </p:cNvPr>
            <p:cNvSpPr/>
            <p:nvPr/>
          </p:nvSpPr>
          <p:spPr>
            <a:xfrm>
              <a:off x="2478" y="781"/>
              <a:ext cx="52" cy="24"/>
            </a:xfrm>
            <a:custGeom>
              <a:avLst/>
              <a:gdLst/>
              <a:ahLst/>
              <a:cxnLst/>
              <a:rect l="l" t="t" r="r" b="b"/>
              <a:pathLst>
                <a:path w="189" h="91" extrusionOk="0">
                  <a:moveTo>
                    <a:pt x="31" y="12"/>
                  </a:moveTo>
                  <a:lnTo>
                    <a:pt x="80" y="3"/>
                  </a:lnTo>
                  <a:lnTo>
                    <a:pt x="117" y="0"/>
                  </a:lnTo>
                  <a:lnTo>
                    <a:pt x="163" y="21"/>
                  </a:lnTo>
                  <a:lnTo>
                    <a:pt x="189" y="52"/>
                  </a:lnTo>
                  <a:lnTo>
                    <a:pt x="188" y="72"/>
                  </a:lnTo>
                  <a:lnTo>
                    <a:pt x="176" y="84"/>
                  </a:lnTo>
                  <a:lnTo>
                    <a:pt x="162" y="91"/>
                  </a:lnTo>
                  <a:lnTo>
                    <a:pt x="132" y="78"/>
                  </a:lnTo>
                  <a:lnTo>
                    <a:pt x="49" y="85"/>
                  </a:lnTo>
                  <a:lnTo>
                    <a:pt x="17" y="77"/>
                  </a:lnTo>
                  <a:lnTo>
                    <a:pt x="0" y="52"/>
                  </a:lnTo>
                  <a:lnTo>
                    <a:pt x="5" y="36"/>
                  </a:lnTo>
                  <a:lnTo>
                    <a:pt x="31" y="12"/>
                  </a:lnTo>
                  <a:close/>
                </a:path>
              </a:pathLst>
            </a:custGeom>
            <a:solidFill>
              <a:srgbClr val="00CC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1" name="Google Shape;534;p19">
              <a:extLst>
                <a:ext uri="{FF2B5EF4-FFF2-40B4-BE49-F238E27FC236}">
                  <a16:creationId xmlns:a16="http://schemas.microsoft.com/office/drawing/2014/main" id="{D26B17F8-0410-44A1-B9D0-D0AD6A02296B}"/>
                </a:ext>
              </a:extLst>
            </p:cNvPr>
            <p:cNvSpPr/>
            <p:nvPr/>
          </p:nvSpPr>
          <p:spPr>
            <a:xfrm>
              <a:off x="2478" y="781"/>
              <a:ext cx="52" cy="24"/>
            </a:xfrm>
            <a:custGeom>
              <a:avLst/>
              <a:gdLst/>
              <a:ahLst/>
              <a:cxnLst/>
              <a:rect l="l" t="t" r="r" b="b"/>
              <a:pathLst>
                <a:path w="189" h="91" extrusionOk="0">
                  <a:moveTo>
                    <a:pt x="31" y="12"/>
                  </a:moveTo>
                  <a:lnTo>
                    <a:pt x="80" y="3"/>
                  </a:lnTo>
                  <a:lnTo>
                    <a:pt x="117" y="0"/>
                  </a:lnTo>
                  <a:lnTo>
                    <a:pt x="163" y="21"/>
                  </a:lnTo>
                  <a:lnTo>
                    <a:pt x="189" y="52"/>
                  </a:lnTo>
                  <a:lnTo>
                    <a:pt x="188" y="72"/>
                  </a:lnTo>
                  <a:lnTo>
                    <a:pt x="176" y="84"/>
                  </a:lnTo>
                  <a:lnTo>
                    <a:pt x="162" y="91"/>
                  </a:lnTo>
                  <a:lnTo>
                    <a:pt x="132" y="78"/>
                  </a:lnTo>
                  <a:lnTo>
                    <a:pt x="49" y="85"/>
                  </a:lnTo>
                  <a:lnTo>
                    <a:pt x="17" y="77"/>
                  </a:lnTo>
                  <a:lnTo>
                    <a:pt x="0" y="52"/>
                  </a:lnTo>
                  <a:lnTo>
                    <a:pt x="5" y="36"/>
                  </a:lnTo>
                  <a:lnTo>
                    <a:pt x="31" y="12"/>
                  </a:lnTo>
                </a:path>
              </a:pathLst>
            </a:custGeom>
            <a:solidFill>
              <a:srgbClr val="B9D9E9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2" name="Google Shape;535;p19">
              <a:extLst>
                <a:ext uri="{FF2B5EF4-FFF2-40B4-BE49-F238E27FC236}">
                  <a16:creationId xmlns:a16="http://schemas.microsoft.com/office/drawing/2014/main" id="{E32FC77E-AC08-4F3E-AF61-E3CBB789724C}"/>
                </a:ext>
              </a:extLst>
            </p:cNvPr>
            <p:cNvSpPr/>
            <p:nvPr/>
          </p:nvSpPr>
          <p:spPr>
            <a:xfrm>
              <a:off x="2576" y="880"/>
              <a:ext cx="35" cy="40"/>
            </a:xfrm>
            <a:custGeom>
              <a:avLst/>
              <a:gdLst/>
              <a:ahLst/>
              <a:cxnLst/>
              <a:rect l="l" t="t" r="r" b="b"/>
              <a:pathLst>
                <a:path w="123" h="156" extrusionOk="0">
                  <a:moveTo>
                    <a:pt x="122" y="104"/>
                  </a:moveTo>
                  <a:lnTo>
                    <a:pt x="107" y="79"/>
                  </a:lnTo>
                  <a:lnTo>
                    <a:pt x="101" y="76"/>
                  </a:lnTo>
                  <a:lnTo>
                    <a:pt x="99" y="63"/>
                  </a:lnTo>
                  <a:lnTo>
                    <a:pt x="107" y="54"/>
                  </a:lnTo>
                  <a:lnTo>
                    <a:pt x="123" y="17"/>
                  </a:lnTo>
                  <a:lnTo>
                    <a:pt x="106" y="0"/>
                  </a:lnTo>
                  <a:lnTo>
                    <a:pt x="78" y="0"/>
                  </a:lnTo>
                  <a:lnTo>
                    <a:pt x="61" y="8"/>
                  </a:lnTo>
                  <a:lnTo>
                    <a:pt x="65" y="56"/>
                  </a:lnTo>
                  <a:lnTo>
                    <a:pt x="63" y="65"/>
                  </a:lnTo>
                  <a:lnTo>
                    <a:pt x="32" y="71"/>
                  </a:lnTo>
                  <a:lnTo>
                    <a:pt x="25" y="64"/>
                  </a:lnTo>
                  <a:lnTo>
                    <a:pt x="7" y="48"/>
                  </a:lnTo>
                  <a:lnTo>
                    <a:pt x="4" y="54"/>
                  </a:lnTo>
                  <a:lnTo>
                    <a:pt x="0" y="89"/>
                  </a:lnTo>
                  <a:lnTo>
                    <a:pt x="31" y="120"/>
                  </a:lnTo>
                  <a:lnTo>
                    <a:pt x="55" y="148"/>
                  </a:lnTo>
                  <a:lnTo>
                    <a:pt x="65" y="156"/>
                  </a:lnTo>
                  <a:lnTo>
                    <a:pt x="98" y="155"/>
                  </a:lnTo>
                  <a:lnTo>
                    <a:pt x="113" y="136"/>
                  </a:lnTo>
                  <a:lnTo>
                    <a:pt x="116" y="128"/>
                  </a:lnTo>
                  <a:lnTo>
                    <a:pt x="117" y="131"/>
                  </a:lnTo>
                  <a:lnTo>
                    <a:pt x="122" y="104"/>
                  </a:lnTo>
                  <a:close/>
                </a:path>
              </a:pathLst>
            </a:custGeom>
            <a:solidFill>
              <a:srgbClr val="00CC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3" name="Google Shape;536;p19">
              <a:extLst>
                <a:ext uri="{FF2B5EF4-FFF2-40B4-BE49-F238E27FC236}">
                  <a16:creationId xmlns:a16="http://schemas.microsoft.com/office/drawing/2014/main" id="{AD122CAD-C268-49C9-A7FD-4316E22B560C}"/>
                </a:ext>
              </a:extLst>
            </p:cNvPr>
            <p:cNvSpPr/>
            <p:nvPr/>
          </p:nvSpPr>
          <p:spPr>
            <a:xfrm>
              <a:off x="2576" y="880"/>
              <a:ext cx="35" cy="40"/>
            </a:xfrm>
            <a:custGeom>
              <a:avLst/>
              <a:gdLst/>
              <a:ahLst/>
              <a:cxnLst/>
              <a:rect l="l" t="t" r="r" b="b"/>
              <a:pathLst>
                <a:path w="123" h="156" extrusionOk="0">
                  <a:moveTo>
                    <a:pt x="122" y="104"/>
                  </a:moveTo>
                  <a:lnTo>
                    <a:pt x="107" y="79"/>
                  </a:lnTo>
                  <a:lnTo>
                    <a:pt x="101" y="76"/>
                  </a:lnTo>
                  <a:lnTo>
                    <a:pt x="99" y="63"/>
                  </a:lnTo>
                  <a:lnTo>
                    <a:pt x="107" y="54"/>
                  </a:lnTo>
                  <a:lnTo>
                    <a:pt x="123" y="17"/>
                  </a:lnTo>
                  <a:lnTo>
                    <a:pt x="106" y="0"/>
                  </a:lnTo>
                  <a:lnTo>
                    <a:pt x="78" y="0"/>
                  </a:lnTo>
                  <a:lnTo>
                    <a:pt x="61" y="8"/>
                  </a:lnTo>
                  <a:lnTo>
                    <a:pt x="65" y="56"/>
                  </a:lnTo>
                  <a:lnTo>
                    <a:pt x="63" y="65"/>
                  </a:lnTo>
                  <a:lnTo>
                    <a:pt x="32" y="71"/>
                  </a:lnTo>
                  <a:lnTo>
                    <a:pt x="25" y="64"/>
                  </a:lnTo>
                  <a:lnTo>
                    <a:pt x="7" y="48"/>
                  </a:lnTo>
                  <a:lnTo>
                    <a:pt x="4" y="54"/>
                  </a:lnTo>
                  <a:lnTo>
                    <a:pt x="0" y="89"/>
                  </a:lnTo>
                  <a:lnTo>
                    <a:pt x="31" y="120"/>
                  </a:lnTo>
                  <a:lnTo>
                    <a:pt x="55" y="148"/>
                  </a:lnTo>
                  <a:lnTo>
                    <a:pt x="65" y="156"/>
                  </a:lnTo>
                  <a:lnTo>
                    <a:pt x="98" y="155"/>
                  </a:lnTo>
                  <a:lnTo>
                    <a:pt x="113" y="136"/>
                  </a:lnTo>
                  <a:lnTo>
                    <a:pt x="116" y="128"/>
                  </a:lnTo>
                  <a:lnTo>
                    <a:pt x="117" y="131"/>
                  </a:lnTo>
                  <a:lnTo>
                    <a:pt x="122" y="104"/>
                  </a:lnTo>
                </a:path>
              </a:pathLst>
            </a:custGeom>
            <a:solidFill>
              <a:srgbClr val="B9D9E9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4" name="Google Shape;537;p19">
              <a:extLst>
                <a:ext uri="{FF2B5EF4-FFF2-40B4-BE49-F238E27FC236}">
                  <a16:creationId xmlns:a16="http://schemas.microsoft.com/office/drawing/2014/main" id="{4314414B-43DE-41BA-AEB9-BC814D2F3606}"/>
                </a:ext>
              </a:extLst>
            </p:cNvPr>
            <p:cNvSpPr/>
            <p:nvPr/>
          </p:nvSpPr>
          <p:spPr>
            <a:xfrm>
              <a:off x="2576" y="967"/>
              <a:ext cx="30" cy="27"/>
            </a:xfrm>
            <a:custGeom>
              <a:avLst/>
              <a:gdLst/>
              <a:ahLst/>
              <a:cxnLst/>
              <a:rect l="l" t="t" r="r" b="b"/>
              <a:pathLst>
                <a:path w="102" h="106" extrusionOk="0">
                  <a:moveTo>
                    <a:pt x="47" y="0"/>
                  </a:moveTo>
                  <a:lnTo>
                    <a:pt x="71" y="0"/>
                  </a:lnTo>
                  <a:lnTo>
                    <a:pt x="92" y="40"/>
                  </a:lnTo>
                  <a:lnTo>
                    <a:pt x="102" y="91"/>
                  </a:lnTo>
                  <a:lnTo>
                    <a:pt x="94" y="100"/>
                  </a:lnTo>
                  <a:lnTo>
                    <a:pt x="68" y="106"/>
                  </a:lnTo>
                  <a:lnTo>
                    <a:pt x="32" y="88"/>
                  </a:lnTo>
                  <a:lnTo>
                    <a:pt x="2" y="57"/>
                  </a:lnTo>
                  <a:lnTo>
                    <a:pt x="0" y="47"/>
                  </a:lnTo>
                  <a:lnTo>
                    <a:pt x="5" y="43"/>
                  </a:lnTo>
                  <a:lnTo>
                    <a:pt x="37" y="7"/>
                  </a:lnTo>
                  <a:lnTo>
                    <a:pt x="47" y="0"/>
                  </a:lnTo>
                  <a:close/>
                </a:path>
              </a:pathLst>
            </a:custGeom>
            <a:solidFill>
              <a:srgbClr val="00CC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5" name="Google Shape;538;p19">
              <a:extLst>
                <a:ext uri="{FF2B5EF4-FFF2-40B4-BE49-F238E27FC236}">
                  <a16:creationId xmlns:a16="http://schemas.microsoft.com/office/drawing/2014/main" id="{D805538E-3988-4429-8F46-AD7969C5FEA6}"/>
                </a:ext>
              </a:extLst>
            </p:cNvPr>
            <p:cNvSpPr/>
            <p:nvPr/>
          </p:nvSpPr>
          <p:spPr>
            <a:xfrm>
              <a:off x="2576" y="967"/>
              <a:ext cx="30" cy="27"/>
            </a:xfrm>
            <a:custGeom>
              <a:avLst/>
              <a:gdLst/>
              <a:ahLst/>
              <a:cxnLst/>
              <a:rect l="l" t="t" r="r" b="b"/>
              <a:pathLst>
                <a:path w="102" h="106" extrusionOk="0">
                  <a:moveTo>
                    <a:pt x="47" y="0"/>
                  </a:moveTo>
                  <a:lnTo>
                    <a:pt x="71" y="0"/>
                  </a:lnTo>
                  <a:lnTo>
                    <a:pt x="92" y="40"/>
                  </a:lnTo>
                  <a:lnTo>
                    <a:pt x="102" y="91"/>
                  </a:lnTo>
                  <a:lnTo>
                    <a:pt x="94" y="100"/>
                  </a:lnTo>
                  <a:lnTo>
                    <a:pt x="68" y="106"/>
                  </a:lnTo>
                  <a:lnTo>
                    <a:pt x="32" y="88"/>
                  </a:lnTo>
                  <a:lnTo>
                    <a:pt x="2" y="57"/>
                  </a:lnTo>
                  <a:lnTo>
                    <a:pt x="0" y="47"/>
                  </a:lnTo>
                  <a:lnTo>
                    <a:pt x="5" y="43"/>
                  </a:lnTo>
                  <a:lnTo>
                    <a:pt x="37" y="7"/>
                  </a:lnTo>
                  <a:lnTo>
                    <a:pt x="47" y="0"/>
                  </a:lnTo>
                </a:path>
              </a:pathLst>
            </a:custGeom>
            <a:solidFill>
              <a:srgbClr val="B9D9E9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6" name="Google Shape;539;p19">
              <a:extLst>
                <a:ext uri="{FF2B5EF4-FFF2-40B4-BE49-F238E27FC236}">
                  <a16:creationId xmlns:a16="http://schemas.microsoft.com/office/drawing/2014/main" id="{886E8415-7A42-4C6C-9D3B-AEEA5455A2A1}"/>
                </a:ext>
              </a:extLst>
            </p:cNvPr>
            <p:cNvSpPr/>
            <p:nvPr/>
          </p:nvSpPr>
          <p:spPr>
            <a:xfrm>
              <a:off x="2791" y="985"/>
              <a:ext cx="18" cy="18"/>
            </a:xfrm>
            <a:custGeom>
              <a:avLst/>
              <a:gdLst/>
              <a:ahLst/>
              <a:cxnLst/>
              <a:rect l="l" t="t" r="r" b="b"/>
              <a:pathLst>
                <a:path w="70" h="67" extrusionOk="0">
                  <a:moveTo>
                    <a:pt x="29" y="3"/>
                  </a:moveTo>
                  <a:lnTo>
                    <a:pt x="48" y="0"/>
                  </a:lnTo>
                  <a:lnTo>
                    <a:pt x="55" y="3"/>
                  </a:lnTo>
                  <a:lnTo>
                    <a:pt x="65" y="17"/>
                  </a:lnTo>
                  <a:lnTo>
                    <a:pt x="70" y="47"/>
                  </a:lnTo>
                  <a:lnTo>
                    <a:pt x="67" y="64"/>
                  </a:lnTo>
                  <a:lnTo>
                    <a:pt x="33" y="67"/>
                  </a:lnTo>
                  <a:lnTo>
                    <a:pt x="8" y="42"/>
                  </a:lnTo>
                  <a:lnTo>
                    <a:pt x="0" y="25"/>
                  </a:lnTo>
                  <a:lnTo>
                    <a:pt x="29" y="3"/>
                  </a:lnTo>
                  <a:close/>
                </a:path>
              </a:pathLst>
            </a:custGeom>
            <a:solidFill>
              <a:srgbClr val="00CC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7" name="Google Shape;540;p19">
              <a:extLst>
                <a:ext uri="{FF2B5EF4-FFF2-40B4-BE49-F238E27FC236}">
                  <a16:creationId xmlns:a16="http://schemas.microsoft.com/office/drawing/2014/main" id="{13C38DD0-B7D5-4394-9439-B0E79C4C8608}"/>
                </a:ext>
              </a:extLst>
            </p:cNvPr>
            <p:cNvSpPr/>
            <p:nvPr/>
          </p:nvSpPr>
          <p:spPr>
            <a:xfrm>
              <a:off x="2791" y="985"/>
              <a:ext cx="18" cy="18"/>
            </a:xfrm>
            <a:custGeom>
              <a:avLst/>
              <a:gdLst/>
              <a:ahLst/>
              <a:cxnLst/>
              <a:rect l="l" t="t" r="r" b="b"/>
              <a:pathLst>
                <a:path w="70" h="67" extrusionOk="0">
                  <a:moveTo>
                    <a:pt x="29" y="3"/>
                  </a:moveTo>
                  <a:lnTo>
                    <a:pt x="48" y="0"/>
                  </a:lnTo>
                  <a:lnTo>
                    <a:pt x="55" y="3"/>
                  </a:lnTo>
                  <a:lnTo>
                    <a:pt x="65" y="17"/>
                  </a:lnTo>
                  <a:lnTo>
                    <a:pt x="70" y="47"/>
                  </a:lnTo>
                  <a:lnTo>
                    <a:pt x="67" y="64"/>
                  </a:lnTo>
                  <a:lnTo>
                    <a:pt x="33" y="67"/>
                  </a:lnTo>
                  <a:lnTo>
                    <a:pt x="8" y="42"/>
                  </a:lnTo>
                  <a:lnTo>
                    <a:pt x="0" y="25"/>
                  </a:lnTo>
                  <a:lnTo>
                    <a:pt x="29" y="3"/>
                  </a:lnTo>
                </a:path>
              </a:pathLst>
            </a:custGeom>
            <a:solidFill>
              <a:srgbClr val="B9D9E9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" name="Google Shape;541;p19">
              <a:extLst>
                <a:ext uri="{FF2B5EF4-FFF2-40B4-BE49-F238E27FC236}">
                  <a16:creationId xmlns:a16="http://schemas.microsoft.com/office/drawing/2014/main" id="{11797CB5-2F71-415C-9D4E-28C8E32F0371}"/>
                </a:ext>
              </a:extLst>
            </p:cNvPr>
            <p:cNvSpPr/>
            <p:nvPr/>
          </p:nvSpPr>
          <p:spPr>
            <a:xfrm>
              <a:off x="2788" y="1050"/>
              <a:ext cx="39" cy="23"/>
            </a:xfrm>
            <a:custGeom>
              <a:avLst/>
              <a:gdLst/>
              <a:ahLst/>
              <a:cxnLst/>
              <a:rect l="l" t="t" r="r" b="b"/>
              <a:pathLst>
                <a:path w="135" h="88" extrusionOk="0">
                  <a:moveTo>
                    <a:pt x="0" y="51"/>
                  </a:moveTo>
                  <a:lnTo>
                    <a:pt x="5" y="26"/>
                  </a:lnTo>
                  <a:lnTo>
                    <a:pt x="17" y="8"/>
                  </a:lnTo>
                  <a:lnTo>
                    <a:pt x="35" y="0"/>
                  </a:lnTo>
                  <a:lnTo>
                    <a:pt x="61" y="7"/>
                  </a:lnTo>
                  <a:lnTo>
                    <a:pt x="103" y="11"/>
                  </a:lnTo>
                  <a:lnTo>
                    <a:pt x="115" y="25"/>
                  </a:lnTo>
                  <a:lnTo>
                    <a:pt x="119" y="28"/>
                  </a:lnTo>
                  <a:lnTo>
                    <a:pt x="135" y="66"/>
                  </a:lnTo>
                  <a:lnTo>
                    <a:pt x="127" y="73"/>
                  </a:lnTo>
                  <a:lnTo>
                    <a:pt x="86" y="81"/>
                  </a:lnTo>
                  <a:lnTo>
                    <a:pt x="73" y="88"/>
                  </a:lnTo>
                  <a:lnTo>
                    <a:pt x="47" y="88"/>
                  </a:lnTo>
                  <a:lnTo>
                    <a:pt x="10" y="81"/>
                  </a:lnTo>
                  <a:lnTo>
                    <a:pt x="3" y="69"/>
                  </a:lnTo>
                  <a:lnTo>
                    <a:pt x="0" y="51"/>
                  </a:lnTo>
                  <a:close/>
                </a:path>
              </a:pathLst>
            </a:custGeom>
            <a:solidFill>
              <a:srgbClr val="00CC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" name="Google Shape;542;p19">
              <a:extLst>
                <a:ext uri="{FF2B5EF4-FFF2-40B4-BE49-F238E27FC236}">
                  <a16:creationId xmlns:a16="http://schemas.microsoft.com/office/drawing/2014/main" id="{51FC511F-93CC-4978-8EBC-C8FFC50B5829}"/>
                </a:ext>
              </a:extLst>
            </p:cNvPr>
            <p:cNvSpPr/>
            <p:nvPr/>
          </p:nvSpPr>
          <p:spPr>
            <a:xfrm>
              <a:off x="2788" y="1050"/>
              <a:ext cx="39" cy="23"/>
            </a:xfrm>
            <a:custGeom>
              <a:avLst/>
              <a:gdLst/>
              <a:ahLst/>
              <a:cxnLst/>
              <a:rect l="l" t="t" r="r" b="b"/>
              <a:pathLst>
                <a:path w="135" h="88" extrusionOk="0">
                  <a:moveTo>
                    <a:pt x="0" y="51"/>
                  </a:moveTo>
                  <a:lnTo>
                    <a:pt x="5" y="26"/>
                  </a:lnTo>
                  <a:lnTo>
                    <a:pt x="17" y="8"/>
                  </a:lnTo>
                  <a:lnTo>
                    <a:pt x="35" y="0"/>
                  </a:lnTo>
                  <a:lnTo>
                    <a:pt x="61" y="7"/>
                  </a:lnTo>
                  <a:lnTo>
                    <a:pt x="103" y="11"/>
                  </a:lnTo>
                  <a:lnTo>
                    <a:pt x="115" y="25"/>
                  </a:lnTo>
                  <a:lnTo>
                    <a:pt x="119" y="28"/>
                  </a:lnTo>
                  <a:lnTo>
                    <a:pt x="135" y="66"/>
                  </a:lnTo>
                  <a:lnTo>
                    <a:pt x="127" y="73"/>
                  </a:lnTo>
                  <a:lnTo>
                    <a:pt x="86" y="81"/>
                  </a:lnTo>
                  <a:lnTo>
                    <a:pt x="73" y="88"/>
                  </a:lnTo>
                  <a:lnTo>
                    <a:pt x="47" y="88"/>
                  </a:lnTo>
                  <a:lnTo>
                    <a:pt x="10" y="81"/>
                  </a:lnTo>
                  <a:lnTo>
                    <a:pt x="3" y="69"/>
                  </a:lnTo>
                  <a:lnTo>
                    <a:pt x="0" y="51"/>
                  </a:lnTo>
                </a:path>
              </a:pathLst>
            </a:custGeom>
            <a:solidFill>
              <a:srgbClr val="B9D9E9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" name="Google Shape;543;p19">
              <a:extLst>
                <a:ext uri="{FF2B5EF4-FFF2-40B4-BE49-F238E27FC236}">
                  <a16:creationId xmlns:a16="http://schemas.microsoft.com/office/drawing/2014/main" id="{3DCD2664-9F2F-47BC-9168-D023F19BE999}"/>
                </a:ext>
              </a:extLst>
            </p:cNvPr>
            <p:cNvSpPr/>
            <p:nvPr/>
          </p:nvSpPr>
          <p:spPr>
            <a:xfrm>
              <a:off x="2509" y="806"/>
              <a:ext cx="64" cy="46"/>
            </a:xfrm>
            <a:custGeom>
              <a:avLst/>
              <a:gdLst/>
              <a:ahLst/>
              <a:cxnLst/>
              <a:rect l="l" t="t" r="r" b="b"/>
              <a:pathLst>
                <a:path w="225" h="177" extrusionOk="0">
                  <a:moveTo>
                    <a:pt x="97" y="169"/>
                  </a:moveTo>
                  <a:lnTo>
                    <a:pt x="127" y="153"/>
                  </a:lnTo>
                  <a:lnTo>
                    <a:pt x="135" y="147"/>
                  </a:lnTo>
                  <a:lnTo>
                    <a:pt x="155" y="148"/>
                  </a:lnTo>
                  <a:lnTo>
                    <a:pt x="178" y="174"/>
                  </a:lnTo>
                  <a:lnTo>
                    <a:pt x="183" y="177"/>
                  </a:lnTo>
                  <a:lnTo>
                    <a:pt x="203" y="177"/>
                  </a:lnTo>
                  <a:lnTo>
                    <a:pt x="216" y="170"/>
                  </a:lnTo>
                  <a:lnTo>
                    <a:pt x="225" y="148"/>
                  </a:lnTo>
                  <a:lnTo>
                    <a:pt x="192" y="99"/>
                  </a:lnTo>
                  <a:lnTo>
                    <a:pt x="172" y="69"/>
                  </a:lnTo>
                  <a:lnTo>
                    <a:pt x="179" y="52"/>
                  </a:lnTo>
                  <a:lnTo>
                    <a:pt x="193" y="27"/>
                  </a:lnTo>
                  <a:lnTo>
                    <a:pt x="185" y="10"/>
                  </a:lnTo>
                  <a:lnTo>
                    <a:pt x="155" y="0"/>
                  </a:lnTo>
                  <a:lnTo>
                    <a:pt x="139" y="22"/>
                  </a:lnTo>
                  <a:lnTo>
                    <a:pt x="141" y="32"/>
                  </a:lnTo>
                  <a:lnTo>
                    <a:pt x="137" y="42"/>
                  </a:lnTo>
                  <a:lnTo>
                    <a:pt x="142" y="85"/>
                  </a:lnTo>
                  <a:lnTo>
                    <a:pt x="134" y="95"/>
                  </a:lnTo>
                  <a:lnTo>
                    <a:pt x="113" y="84"/>
                  </a:lnTo>
                  <a:lnTo>
                    <a:pt x="96" y="61"/>
                  </a:lnTo>
                  <a:lnTo>
                    <a:pt x="62" y="42"/>
                  </a:lnTo>
                  <a:lnTo>
                    <a:pt x="28" y="30"/>
                  </a:lnTo>
                  <a:lnTo>
                    <a:pt x="9" y="57"/>
                  </a:lnTo>
                  <a:lnTo>
                    <a:pt x="0" y="87"/>
                  </a:lnTo>
                  <a:lnTo>
                    <a:pt x="17" y="103"/>
                  </a:lnTo>
                  <a:lnTo>
                    <a:pt x="45" y="98"/>
                  </a:lnTo>
                  <a:lnTo>
                    <a:pt x="60" y="100"/>
                  </a:lnTo>
                  <a:lnTo>
                    <a:pt x="67" y="108"/>
                  </a:lnTo>
                  <a:lnTo>
                    <a:pt x="70" y="131"/>
                  </a:lnTo>
                  <a:lnTo>
                    <a:pt x="71" y="159"/>
                  </a:lnTo>
                  <a:lnTo>
                    <a:pt x="82" y="167"/>
                  </a:lnTo>
                  <a:lnTo>
                    <a:pt x="97" y="169"/>
                  </a:lnTo>
                  <a:close/>
                </a:path>
              </a:pathLst>
            </a:custGeom>
            <a:solidFill>
              <a:srgbClr val="00CC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" name="Google Shape;544;p19">
              <a:extLst>
                <a:ext uri="{FF2B5EF4-FFF2-40B4-BE49-F238E27FC236}">
                  <a16:creationId xmlns:a16="http://schemas.microsoft.com/office/drawing/2014/main" id="{41F9A0A9-2CDE-4971-93A9-3B8BC967650D}"/>
                </a:ext>
              </a:extLst>
            </p:cNvPr>
            <p:cNvSpPr/>
            <p:nvPr/>
          </p:nvSpPr>
          <p:spPr>
            <a:xfrm>
              <a:off x="2509" y="806"/>
              <a:ext cx="64" cy="46"/>
            </a:xfrm>
            <a:custGeom>
              <a:avLst/>
              <a:gdLst/>
              <a:ahLst/>
              <a:cxnLst/>
              <a:rect l="l" t="t" r="r" b="b"/>
              <a:pathLst>
                <a:path w="225" h="177" extrusionOk="0">
                  <a:moveTo>
                    <a:pt x="97" y="169"/>
                  </a:moveTo>
                  <a:lnTo>
                    <a:pt x="127" y="153"/>
                  </a:lnTo>
                  <a:lnTo>
                    <a:pt x="135" y="147"/>
                  </a:lnTo>
                  <a:lnTo>
                    <a:pt x="155" y="148"/>
                  </a:lnTo>
                  <a:lnTo>
                    <a:pt x="178" y="174"/>
                  </a:lnTo>
                  <a:lnTo>
                    <a:pt x="183" y="177"/>
                  </a:lnTo>
                  <a:lnTo>
                    <a:pt x="203" y="177"/>
                  </a:lnTo>
                  <a:lnTo>
                    <a:pt x="216" y="170"/>
                  </a:lnTo>
                  <a:lnTo>
                    <a:pt x="225" y="148"/>
                  </a:lnTo>
                  <a:lnTo>
                    <a:pt x="192" y="99"/>
                  </a:lnTo>
                  <a:lnTo>
                    <a:pt x="172" y="69"/>
                  </a:lnTo>
                  <a:lnTo>
                    <a:pt x="179" y="52"/>
                  </a:lnTo>
                  <a:lnTo>
                    <a:pt x="193" y="27"/>
                  </a:lnTo>
                  <a:lnTo>
                    <a:pt x="185" y="10"/>
                  </a:lnTo>
                  <a:lnTo>
                    <a:pt x="155" y="0"/>
                  </a:lnTo>
                  <a:lnTo>
                    <a:pt x="139" y="22"/>
                  </a:lnTo>
                  <a:lnTo>
                    <a:pt x="141" y="32"/>
                  </a:lnTo>
                  <a:lnTo>
                    <a:pt x="137" y="42"/>
                  </a:lnTo>
                  <a:lnTo>
                    <a:pt x="142" y="85"/>
                  </a:lnTo>
                  <a:lnTo>
                    <a:pt x="134" y="95"/>
                  </a:lnTo>
                  <a:lnTo>
                    <a:pt x="113" y="84"/>
                  </a:lnTo>
                  <a:lnTo>
                    <a:pt x="96" y="61"/>
                  </a:lnTo>
                  <a:lnTo>
                    <a:pt x="62" y="42"/>
                  </a:lnTo>
                  <a:lnTo>
                    <a:pt x="28" y="30"/>
                  </a:lnTo>
                  <a:lnTo>
                    <a:pt x="9" y="57"/>
                  </a:lnTo>
                  <a:lnTo>
                    <a:pt x="0" y="87"/>
                  </a:lnTo>
                  <a:lnTo>
                    <a:pt x="17" y="103"/>
                  </a:lnTo>
                  <a:lnTo>
                    <a:pt x="45" y="98"/>
                  </a:lnTo>
                  <a:lnTo>
                    <a:pt x="60" y="100"/>
                  </a:lnTo>
                  <a:lnTo>
                    <a:pt x="67" y="108"/>
                  </a:lnTo>
                  <a:lnTo>
                    <a:pt x="70" y="131"/>
                  </a:lnTo>
                  <a:lnTo>
                    <a:pt x="71" y="159"/>
                  </a:lnTo>
                  <a:lnTo>
                    <a:pt x="82" y="167"/>
                  </a:lnTo>
                  <a:lnTo>
                    <a:pt x="97" y="169"/>
                  </a:lnTo>
                </a:path>
              </a:pathLst>
            </a:custGeom>
            <a:solidFill>
              <a:srgbClr val="B9D9E9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" name="Google Shape;545;p19">
              <a:extLst>
                <a:ext uri="{FF2B5EF4-FFF2-40B4-BE49-F238E27FC236}">
                  <a16:creationId xmlns:a16="http://schemas.microsoft.com/office/drawing/2014/main" id="{F11C9E29-5D73-4D1D-B58F-D4129102D0ED}"/>
                </a:ext>
              </a:extLst>
            </p:cNvPr>
            <p:cNvSpPr/>
            <p:nvPr/>
          </p:nvSpPr>
          <p:spPr>
            <a:xfrm>
              <a:off x="2631" y="877"/>
              <a:ext cx="35" cy="24"/>
            </a:xfrm>
            <a:custGeom>
              <a:avLst/>
              <a:gdLst/>
              <a:ahLst/>
              <a:cxnLst/>
              <a:rect l="l" t="t" r="r" b="b"/>
              <a:pathLst>
                <a:path w="121" h="90" extrusionOk="0">
                  <a:moveTo>
                    <a:pt x="18" y="26"/>
                  </a:moveTo>
                  <a:lnTo>
                    <a:pt x="0" y="68"/>
                  </a:lnTo>
                  <a:lnTo>
                    <a:pt x="3" y="87"/>
                  </a:lnTo>
                  <a:lnTo>
                    <a:pt x="8" y="90"/>
                  </a:lnTo>
                  <a:lnTo>
                    <a:pt x="67" y="85"/>
                  </a:lnTo>
                  <a:lnTo>
                    <a:pt x="92" y="70"/>
                  </a:lnTo>
                  <a:lnTo>
                    <a:pt x="111" y="61"/>
                  </a:lnTo>
                  <a:lnTo>
                    <a:pt x="117" y="50"/>
                  </a:lnTo>
                  <a:lnTo>
                    <a:pt x="121" y="44"/>
                  </a:lnTo>
                  <a:lnTo>
                    <a:pt x="118" y="27"/>
                  </a:lnTo>
                  <a:lnTo>
                    <a:pt x="111" y="17"/>
                  </a:lnTo>
                  <a:lnTo>
                    <a:pt x="70" y="8"/>
                  </a:lnTo>
                  <a:lnTo>
                    <a:pt x="65" y="0"/>
                  </a:lnTo>
                  <a:lnTo>
                    <a:pt x="37" y="5"/>
                  </a:lnTo>
                  <a:lnTo>
                    <a:pt x="18" y="26"/>
                  </a:lnTo>
                  <a:close/>
                </a:path>
              </a:pathLst>
            </a:custGeom>
            <a:solidFill>
              <a:srgbClr val="00CC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" name="Google Shape;546;p19">
              <a:extLst>
                <a:ext uri="{FF2B5EF4-FFF2-40B4-BE49-F238E27FC236}">
                  <a16:creationId xmlns:a16="http://schemas.microsoft.com/office/drawing/2014/main" id="{3B98D78C-F865-48B0-A1F3-D6C38DA18B6D}"/>
                </a:ext>
              </a:extLst>
            </p:cNvPr>
            <p:cNvSpPr/>
            <p:nvPr/>
          </p:nvSpPr>
          <p:spPr>
            <a:xfrm>
              <a:off x="2631" y="877"/>
              <a:ext cx="35" cy="24"/>
            </a:xfrm>
            <a:custGeom>
              <a:avLst/>
              <a:gdLst/>
              <a:ahLst/>
              <a:cxnLst/>
              <a:rect l="l" t="t" r="r" b="b"/>
              <a:pathLst>
                <a:path w="121" h="90" extrusionOk="0">
                  <a:moveTo>
                    <a:pt x="18" y="26"/>
                  </a:moveTo>
                  <a:lnTo>
                    <a:pt x="0" y="68"/>
                  </a:lnTo>
                  <a:lnTo>
                    <a:pt x="3" y="87"/>
                  </a:lnTo>
                  <a:lnTo>
                    <a:pt x="8" y="90"/>
                  </a:lnTo>
                  <a:lnTo>
                    <a:pt x="67" y="85"/>
                  </a:lnTo>
                  <a:lnTo>
                    <a:pt x="92" y="70"/>
                  </a:lnTo>
                  <a:lnTo>
                    <a:pt x="111" y="61"/>
                  </a:lnTo>
                  <a:lnTo>
                    <a:pt x="117" y="50"/>
                  </a:lnTo>
                  <a:lnTo>
                    <a:pt x="121" y="44"/>
                  </a:lnTo>
                  <a:lnTo>
                    <a:pt x="118" y="27"/>
                  </a:lnTo>
                  <a:lnTo>
                    <a:pt x="111" y="17"/>
                  </a:lnTo>
                  <a:lnTo>
                    <a:pt x="70" y="8"/>
                  </a:lnTo>
                  <a:lnTo>
                    <a:pt x="65" y="0"/>
                  </a:lnTo>
                  <a:lnTo>
                    <a:pt x="37" y="5"/>
                  </a:lnTo>
                  <a:lnTo>
                    <a:pt x="18" y="26"/>
                  </a:lnTo>
                </a:path>
              </a:pathLst>
            </a:custGeom>
            <a:solidFill>
              <a:srgbClr val="B9D9E9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4" name="Google Shape;547;p19">
              <a:extLst>
                <a:ext uri="{FF2B5EF4-FFF2-40B4-BE49-F238E27FC236}">
                  <a16:creationId xmlns:a16="http://schemas.microsoft.com/office/drawing/2014/main" id="{A64E43AE-AC9C-4CAF-AC1D-0FBB4767CD0F}"/>
                </a:ext>
              </a:extLst>
            </p:cNvPr>
            <p:cNvSpPr/>
            <p:nvPr/>
          </p:nvSpPr>
          <p:spPr>
            <a:xfrm>
              <a:off x="2990" y="898"/>
              <a:ext cx="24" cy="22"/>
            </a:xfrm>
            <a:custGeom>
              <a:avLst/>
              <a:gdLst/>
              <a:ahLst/>
              <a:cxnLst/>
              <a:rect l="l" t="t" r="r" b="b"/>
              <a:pathLst>
                <a:path w="85" h="92" extrusionOk="0">
                  <a:moveTo>
                    <a:pt x="28" y="0"/>
                  </a:moveTo>
                  <a:lnTo>
                    <a:pt x="55" y="4"/>
                  </a:lnTo>
                  <a:lnTo>
                    <a:pt x="81" y="18"/>
                  </a:lnTo>
                  <a:lnTo>
                    <a:pt x="85" y="45"/>
                  </a:lnTo>
                  <a:lnTo>
                    <a:pt x="79" y="76"/>
                  </a:lnTo>
                  <a:lnTo>
                    <a:pt x="67" y="92"/>
                  </a:lnTo>
                  <a:lnTo>
                    <a:pt x="57" y="88"/>
                  </a:lnTo>
                  <a:lnTo>
                    <a:pt x="52" y="77"/>
                  </a:lnTo>
                  <a:lnTo>
                    <a:pt x="36" y="64"/>
                  </a:lnTo>
                  <a:lnTo>
                    <a:pt x="8" y="70"/>
                  </a:lnTo>
                  <a:lnTo>
                    <a:pt x="0" y="62"/>
                  </a:lnTo>
                  <a:lnTo>
                    <a:pt x="8" y="26"/>
                  </a:lnTo>
                  <a:lnTo>
                    <a:pt x="20" y="11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00CC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" name="Google Shape;548;p19">
              <a:extLst>
                <a:ext uri="{FF2B5EF4-FFF2-40B4-BE49-F238E27FC236}">
                  <a16:creationId xmlns:a16="http://schemas.microsoft.com/office/drawing/2014/main" id="{BE70D078-78BE-45BE-A3E5-1984837134A8}"/>
                </a:ext>
              </a:extLst>
            </p:cNvPr>
            <p:cNvSpPr/>
            <p:nvPr/>
          </p:nvSpPr>
          <p:spPr>
            <a:xfrm>
              <a:off x="2990" y="898"/>
              <a:ext cx="24" cy="22"/>
            </a:xfrm>
            <a:custGeom>
              <a:avLst/>
              <a:gdLst/>
              <a:ahLst/>
              <a:cxnLst/>
              <a:rect l="l" t="t" r="r" b="b"/>
              <a:pathLst>
                <a:path w="85" h="92" extrusionOk="0">
                  <a:moveTo>
                    <a:pt x="28" y="0"/>
                  </a:moveTo>
                  <a:lnTo>
                    <a:pt x="55" y="4"/>
                  </a:lnTo>
                  <a:lnTo>
                    <a:pt x="81" y="18"/>
                  </a:lnTo>
                  <a:lnTo>
                    <a:pt x="85" y="45"/>
                  </a:lnTo>
                  <a:lnTo>
                    <a:pt x="79" y="76"/>
                  </a:lnTo>
                  <a:lnTo>
                    <a:pt x="67" y="92"/>
                  </a:lnTo>
                  <a:lnTo>
                    <a:pt x="57" y="88"/>
                  </a:lnTo>
                  <a:lnTo>
                    <a:pt x="52" y="77"/>
                  </a:lnTo>
                  <a:lnTo>
                    <a:pt x="36" y="64"/>
                  </a:lnTo>
                  <a:lnTo>
                    <a:pt x="8" y="70"/>
                  </a:lnTo>
                  <a:lnTo>
                    <a:pt x="0" y="62"/>
                  </a:lnTo>
                  <a:lnTo>
                    <a:pt x="8" y="26"/>
                  </a:lnTo>
                  <a:lnTo>
                    <a:pt x="20" y="11"/>
                  </a:lnTo>
                  <a:lnTo>
                    <a:pt x="28" y="0"/>
                  </a:lnTo>
                </a:path>
              </a:pathLst>
            </a:custGeom>
            <a:solidFill>
              <a:srgbClr val="B9D9E9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6" name="Google Shape;549;p19">
              <a:extLst>
                <a:ext uri="{FF2B5EF4-FFF2-40B4-BE49-F238E27FC236}">
                  <a16:creationId xmlns:a16="http://schemas.microsoft.com/office/drawing/2014/main" id="{843A08CE-A567-4EAD-8E1C-0CFD5F112790}"/>
                </a:ext>
              </a:extLst>
            </p:cNvPr>
            <p:cNvSpPr/>
            <p:nvPr/>
          </p:nvSpPr>
          <p:spPr>
            <a:xfrm>
              <a:off x="2693" y="1053"/>
              <a:ext cx="56" cy="54"/>
            </a:xfrm>
            <a:custGeom>
              <a:avLst/>
              <a:gdLst/>
              <a:ahLst/>
              <a:cxnLst/>
              <a:rect l="l" t="t" r="r" b="b"/>
              <a:pathLst>
                <a:path w="197" h="206" extrusionOk="0">
                  <a:moveTo>
                    <a:pt x="53" y="0"/>
                  </a:moveTo>
                  <a:lnTo>
                    <a:pt x="81" y="26"/>
                  </a:lnTo>
                  <a:lnTo>
                    <a:pt x="104" y="25"/>
                  </a:lnTo>
                  <a:lnTo>
                    <a:pt x="120" y="48"/>
                  </a:lnTo>
                  <a:lnTo>
                    <a:pt x="149" y="53"/>
                  </a:lnTo>
                  <a:lnTo>
                    <a:pt x="161" y="61"/>
                  </a:lnTo>
                  <a:lnTo>
                    <a:pt x="189" y="88"/>
                  </a:lnTo>
                  <a:lnTo>
                    <a:pt x="197" y="125"/>
                  </a:lnTo>
                  <a:lnTo>
                    <a:pt x="190" y="135"/>
                  </a:lnTo>
                  <a:lnTo>
                    <a:pt x="159" y="147"/>
                  </a:lnTo>
                  <a:lnTo>
                    <a:pt x="129" y="137"/>
                  </a:lnTo>
                  <a:lnTo>
                    <a:pt x="100" y="143"/>
                  </a:lnTo>
                  <a:lnTo>
                    <a:pt x="98" y="149"/>
                  </a:lnTo>
                  <a:lnTo>
                    <a:pt x="94" y="179"/>
                  </a:lnTo>
                  <a:lnTo>
                    <a:pt x="92" y="190"/>
                  </a:lnTo>
                  <a:lnTo>
                    <a:pt x="75" y="201"/>
                  </a:lnTo>
                  <a:lnTo>
                    <a:pt x="50" y="206"/>
                  </a:lnTo>
                  <a:lnTo>
                    <a:pt x="41" y="202"/>
                  </a:lnTo>
                  <a:lnTo>
                    <a:pt x="20" y="169"/>
                  </a:lnTo>
                  <a:lnTo>
                    <a:pt x="0" y="163"/>
                  </a:lnTo>
                  <a:lnTo>
                    <a:pt x="12" y="130"/>
                  </a:lnTo>
                  <a:lnTo>
                    <a:pt x="12" y="100"/>
                  </a:lnTo>
                  <a:lnTo>
                    <a:pt x="20" y="63"/>
                  </a:lnTo>
                  <a:lnTo>
                    <a:pt x="24" y="21"/>
                  </a:lnTo>
                  <a:lnTo>
                    <a:pt x="33" y="4"/>
                  </a:lnTo>
                  <a:lnTo>
                    <a:pt x="53" y="0"/>
                  </a:lnTo>
                  <a:close/>
                </a:path>
              </a:pathLst>
            </a:custGeom>
            <a:solidFill>
              <a:srgbClr val="00CC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7" name="Google Shape;550;p19">
              <a:extLst>
                <a:ext uri="{FF2B5EF4-FFF2-40B4-BE49-F238E27FC236}">
                  <a16:creationId xmlns:a16="http://schemas.microsoft.com/office/drawing/2014/main" id="{56EC6D07-706E-48B1-BC88-444C924E3C25}"/>
                </a:ext>
              </a:extLst>
            </p:cNvPr>
            <p:cNvSpPr/>
            <p:nvPr/>
          </p:nvSpPr>
          <p:spPr>
            <a:xfrm>
              <a:off x="2693" y="1053"/>
              <a:ext cx="56" cy="54"/>
            </a:xfrm>
            <a:custGeom>
              <a:avLst/>
              <a:gdLst/>
              <a:ahLst/>
              <a:cxnLst/>
              <a:rect l="l" t="t" r="r" b="b"/>
              <a:pathLst>
                <a:path w="197" h="206" extrusionOk="0">
                  <a:moveTo>
                    <a:pt x="53" y="0"/>
                  </a:moveTo>
                  <a:lnTo>
                    <a:pt x="81" y="26"/>
                  </a:lnTo>
                  <a:lnTo>
                    <a:pt x="104" y="25"/>
                  </a:lnTo>
                  <a:lnTo>
                    <a:pt x="120" y="48"/>
                  </a:lnTo>
                  <a:lnTo>
                    <a:pt x="149" y="53"/>
                  </a:lnTo>
                  <a:lnTo>
                    <a:pt x="161" y="61"/>
                  </a:lnTo>
                  <a:lnTo>
                    <a:pt x="189" y="88"/>
                  </a:lnTo>
                  <a:lnTo>
                    <a:pt x="197" y="125"/>
                  </a:lnTo>
                  <a:lnTo>
                    <a:pt x="190" y="135"/>
                  </a:lnTo>
                  <a:lnTo>
                    <a:pt x="159" y="147"/>
                  </a:lnTo>
                  <a:lnTo>
                    <a:pt x="129" y="137"/>
                  </a:lnTo>
                  <a:lnTo>
                    <a:pt x="100" y="143"/>
                  </a:lnTo>
                  <a:lnTo>
                    <a:pt x="98" y="149"/>
                  </a:lnTo>
                  <a:lnTo>
                    <a:pt x="94" y="179"/>
                  </a:lnTo>
                  <a:lnTo>
                    <a:pt x="92" y="190"/>
                  </a:lnTo>
                  <a:lnTo>
                    <a:pt x="75" y="201"/>
                  </a:lnTo>
                  <a:lnTo>
                    <a:pt x="50" y="206"/>
                  </a:lnTo>
                  <a:lnTo>
                    <a:pt x="41" y="202"/>
                  </a:lnTo>
                  <a:lnTo>
                    <a:pt x="20" y="169"/>
                  </a:lnTo>
                  <a:lnTo>
                    <a:pt x="0" y="163"/>
                  </a:lnTo>
                  <a:lnTo>
                    <a:pt x="12" y="130"/>
                  </a:lnTo>
                  <a:lnTo>
                    <a:pt x="12" y="100"/>
                  </a:lnTo>
                  <a:lnTo>
                    <a:pt x="20" y="63"/>
                  </a:lnTo>
                  <a:lnTo>
                    <a:pt x="24" y="21"/>
                  </a:lnTo>
                  <a:lnTo>
                    <a:pt x="33" y="4"/>
                  </a:lnTo>
                  <a:lnTo>
                    <a:pt x="53" y="0"/>
                  </a:lnTo>
                </a:path>
              </a:pathLst>
            </a:custGeom>
            <a:solidFill>
              <a:srgbClr val="B9D9E9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8" name="Google Shape;551;p19">
              <a:extLst>
                <a:ext uri="{FF2B5EF4-FFF2-40B4-BE49-F238E27FC236}">
                  <a16:creationId xmlns:a16="http://schemas.microsoft.com/office/drawing/2014/main" id="{07E048D0-7EF2-4850-B3EB-07698694F0D8}"/>
                </a:ext>
              </a:extLst>
            </p:cNvPr>
            <p:cNvSpPr/>
            <p:nvPr/>
          </p:nvSpPr>
          <p:spPr>
            <a:xfrm>
              <a:off x="3133" y="1387"/>
              <a:ext cx="24" cy="27"/>
            </a:xfrm>
            <a:custGeom>
              <a:avLst/>
              <a:gdLst/>
              <a:ahLst/>
              <a:cxnLst/>
              <a:rect l="l" t="t" r="r" b="b"/>
              <a:pathLst>
                <a:path w="83" h="104" extrusionOk="0">
                  <a:moveTo>
                    <a:pt x="15" y="0"/>
                  </a:moveTo>
                  <a:lnTo>
                    <a:pt x="36" y="5"/>
                  </a:lnTo>
                  <a:lnTo>
                    <a:pt x="43" y="44"/>
                  </a:lnTo>
                  <a:lnTo>
                    <a:pt x="49" y="45"/>
                  </a:lnTo>
                  <a:lnTo>
                    <a:pt x="58" y="44"/>
                  </a:lnTo>
                  <a:lnTo>
                    <a:pt x="83" y="48"/>
                  </a:lnTo>
                  <a:lnTo>
                    <a:pt x="79" y="73"/>
                  </a:lnTo>
                  <a:lnTo>
                    <a:pt x="72" y="94"/>
                  </a:lnTo>
                  <a:lnTo>
                    <a:pt x="55" y="97"/>
                  </a:lnTo>
                  <a:lnTo>
                    <a:pt x="45" y="90"/>
                  </a:lnTo>
                  <a:lnTo>
                    <a:pt x="30" y="77"/>
                  </a:lnTo>
                  <a:lnTo>
                    <a:pt x="29" y="82"/>
                  </a:lnTo>
                  <a:lnTo>
                    <a:pt x="17" y="104"/>
                  </a:lnTo>
                  <a:lnTo>
                    <a:pt x="6" y="97"/>
                  </a:lnTo>
                  <a:lnTo>
                    <a:pt x="0" y="69"/>
                  </a:lnTo>
                  <a:lnTo>
                    <a:pt x="11" y="40"/>
                  </a:lnTo>
                  <a:lnTo>
                    <a:pt x="14" y="5"/>
                  </a:lnTo>
                  <a:lnTo>
                    <a:pt x="15" y="0"/>
                  </a:lnTo>
                  <a:close/>
                </a:path>
              </a:pathLst>
            </a:custGeom>
            <a:solidFill>
              <a:srgbClr val="00CC00"/>
            </a:solidFill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9" name="Google Shape;552;p19">
              <a:extLst>
                <a:ext uri="{FF2B5EF4-FFF2-40B4-BE49-F238E27FC236}">
                  <a16:creationId xmlns:a16="http://schemas.microsoft.com/office/drawing/2014/main" id="{FE704E69-6A6E-4E63-94B2-26782432E208}"/>
                </a:ext>
              </a:extLst>
            </p:cNvPr>
            <p:cNvSpPr/>
            <p:nvPr/>
          </p:nvSpPr>
          <p:spPr>
            <a:xfrm>
              <a:off x="3133" y="1387"/>
              <a:ext cx="24" cy="27"/>
            </a:xfrm>
            <a:custGeom>
              <a:avLst/>
              <a:gdLst/>
              <a:ahLst/>
              <a:cxnLst/>
              <a:rect l="l" t="t" r="r" b="b"/>
              <a:pathLst>
                <a:path w="83" h="104" extrusionOk="0">
                  <a:moveTo>
                    <a:pt x="15" y="0"/>
                  </a:moveTo>
                  <a:lnTo>
                    <a:pt x="36" y="5"/>
                  </a:lnTo>
                  <a:lnTo>
                    <a:pt x="43" y="44"/>
                  </a:lnTo>
                  <a:lnTo>
                    <a:pt x="49" y="45"/>
                  </a:lnTo>
                  <a:lnTo>
                    <a:pt x="58" y="44"/>
                  </a:lnTo>
                  <a:lnTo>
                    <a:pt x="83" y="48"/>
                  </a:lnTo>
                  <a:lnTo>
                    <a:pt x="79" y="73"/>
                  </a:lnTo>
                  <a:lnTo>
                    <a:pt x="72" y="94"/>
                  </a:lnTo>
                  <a:lnTo>
                    <a:pt x="55" y="97"/>
                  </a:lnTo>
                  <a:lnTo>
                    <a:pt x="45" y="90"/>
                  </a:lnTo>
                  <a:lnTo>
                    <a:pt x="30" y="77"/>
                  </a:lnTo>
                  <a:lnTo>
                    <a:pt x="29" y="82"/>
                  </a:lnTo>
                  <a:lnTo>
                    <a:pt x="17" y="104"/>
                  </a:lnTo>
                  <a:lnTo>
                    <a:pt x="6" y="97"/>
                  </a:lnTo>
                  <a:lnTo>
                    <a:pt x="0" y="69"/>
                  </a:lnTo>
                  <a:lnTo>
                    <a:pt x="11" y="40"/>
                  </a:lnTo>
                  <a:lnTo>
                    <a:pt x="14" y="5"/>
                  </a:lnTo>
                  <a:lnTo>
                    <a:pt x="15" y="0"/>
                  </a:lnTo>
                </a:path>
              </a:pathLst>
            </a:custGeom>
            <a:solidFill>
              <a:srgbClr val="B9D9E9"/>
            </a:solidFill>
            <a:ln w="12700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0" name="Google Shape;553;p19">
              <a:extLst>
                <a:ext uri="{FF2B5EF4-FFF2-40B4-BE49-F238E27FC236}">
                  <a16:creationId xmlns:a16="http://schemas.microsoft.com/office/drawing/2014/main" id="{EE272BAF-71A2-4EC2-B782-62E1FE417E68}"/>
                </a:ext>
              </a:extLst>
            </p:cNvPr>
            <p:cNvSpPr/>
            <p:nvPr/>
          </p:nvSpPr>
          <p:spPr>
            <a:xfrm>
              <a:off x="2955" y="1558"/>
              <a:ext cx="21" cy="13"/>
            </a:xfrm>
            <a:custGeom>
              <a:avLst/>
              <a:gdLst/>
              <a:ahLst/>
              <a:cxnLst/>
              <a:rect l="l" t="t" r="r" b="b"/>
              <a:pathLst>
                <a:path w="76" h="50" extrusionOk="0">
                  <a:moveTo>
                    <a:pt x="72" y="0"/>
                  </a:moveTo>
                  <a:lnTo>
                    <a:pt x="76" y="4"/>
                  </a:lnTo>
                  <a:lnTo>
                    <a:pt x="73" y="9"/>
                  </a:lnTo>
                  <a:lnTo>
                    <a:pt x="49" y="28"/>
                  </a:lnTo>
                  <a:lnTo>
                    <a:pt x="6" y="50"/>
                  </a:lnTo>
                  <a:lnTo>
                    <a:pt x="1" y="48"/>
                  </a:lnTo>
                  <a:lnTo>
                    <a:pt x="0" y="43"/>
                  </a:lnTo>
                  <a:lnTo>
                    <a:pt x="6" y="31"/>
                  </a:lnTo>
                  <a:lnTo>
                    <a:pt x="32" y="17"/>
                  </a:lnTo>
                  <a:lnTo>
                    <a:pt x="49" y="5"/>
                  </a:lnTo>
                  <a:lnTo>
                    <a:pt x="72" y="0"/>
                  </a:lnTo>
                  <a:close/>
                </a:path>
              </a:pathLst>
            </a:custGeom>
            <a:solidFill>
              <a:srgbClr val="00CC00"/>
            </a:solidFill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1" name="Google Shape;554;p19">
              <a:extLst>
                <a:ext uri="{FF2B5EF4-FFF2-40B4-BE49-F238E27FC236}">
                  <a16:creationId xmlns:a16="http://schemas.microsoft.com/office/drawing/2014/main" id="{E92B15E6-262F-411A-89B7-1B53F4E24AB6}"/>
                </a:ext>
              </a:extLst>
            </p:cNvPr>
            <p:cNvSpPr/>
            <p:nvPr/>
          </p:nvSpPr>
          <p:spPr>
            <a:xfrm>
              <a:off x="2955" y="1558"/>
              <a:ext cx="21" cy="13"/>
            </a:xfrm>
            <a:custGeom>
              <a:avLst/>
              <a:gdLst/>
              <a:ahLst/>
              <a:cxnLst/>
              <a:rect l="l" t="t" r="r" b="b"/>
              <a:pathLst>
                <a:path w="76" h="50" extrusionOk="0">
                  <a:moveTo>
                    <a:pt x="72" y="0"/>
                  </a:moveTo>
                  <a:lnTo>
                    <a:pt x="76" y="4"/>
                  </a:lnTo>
                  <a:lnTo>
                    <a:pt x="73" y="9"/>
                  </a:lnTo>
                  <a:lnTo>
                    <a:pt x="49" y="28"/>
                  </a:lnTo>
                  <a:lnTo>
                    <a:pt x="6" y="50"/>
                  </a:lnTo>
                  <a:lnTo>
                    <a:pt x="1" y="48"/>
                  </a:lnTo>
                  <a:lnTo>
                    <a:pt x="0" y="43"/>
                  </a:lnTo>
                  <a:lnTo>
                    <a:pt x="6" y="31"/>
                  </a:lnTo>
                  <a:lnTo>
                    <a:pt x="32" y="17"/>
                  </a:lnTo>
                  <a:lnTo>
                    <a:pt x="49" y="5"/>
                  </a:lnTo>
                  <a:lnTo>
                    <a:pt x="72" y="0"/>
                  </a:lnTo>
                </a:path>
              </a:pathLst>
            </a:custGeom>
            <a:solidFill>
              <a:srgbClr val="00CC00"/>
            </a:solidFill>
            <a:ln w="12700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2" name="Google Shape;555;p19">
              <a:extLst>
                <a:ext uri="{FF2B5EF4-FFF2-40B4-BE49-F238E27FC236}">
                  <a16:creationId xmlns:a16="http://schemas.microsoft.com/office/drawing/2014/main" id="{7C924148-99DE-48C0-ADEB-E77CFF03CA40}"/>
                </a:ext>
              </a:extLst>
            </p:cNvPr>
            <p:cNvSpPr/>
            <p:nvPr/>
          </p:nvSpPr>
          <p:spPr>
            <a:xfrm>
              <a:off x="2058" y="1138"/>
              <a:ext cx="17" cy="54"/>
            </a:xfrm>
            <a:custGeom>
              <a:avLst/>
              <a:gdLst/>
              <a:ahLst/>
              <a:cxnLst/>
              <a:rect l="l" t="t" r="r" b="b"/>
              <a:pathLst>
                <a:path w="62" h="210" extrusionOk="0">
                  <a:moveTo>
                    <a:pt x="30" y="0"/>
                  </a:moveTo>
                  <a:lnTo>
                    <a:pt x="54" y="3"/>
                  </a:lnTo>
                  <a:lnTo>
                    <a:pt x="59" y="35"/>
                  </a:lnTo>
                  <a:lnTo>
                    <a:pt x="62" y="92"/>
                  </a:lnTo>
                  <a:lnTo>
                    <a:pt x="54" y="122"/>
                  </a:lnTo>
                  <a:lnTo>
                    <a:pt x="55" y="150"/>
                  </a:lnTo>
                  <a:lnTo>
                    <a:pt x="45" y="180"/>
                  </a:lnTo>
                  <a:lnTo>
                    <a:pt x="38" y="191"/>
                  </a:lnTo>
                  <a:lnTo>
                    <a:pt x="22" y="210"/>
                  </a:lnTo>
                  <a:lnTo>
                    <a:pt x="1" y="169"/>
                  </a:lnTo>
                  <a:lnTo>
                    <a:pt x="0" y="141"/>
                  </a:lnTo>
                  <a:lnTo>
                    <a:pt x="3" y="110"/>
                  </a:lnTo>
                  <a:lnTo>
                    <a:pt x="13" y="81"/>
                  </a:lnTo>
                  <a:lnTo>
                    <a:pt x="7" y="56"/>
                  </a:lnTo>
                  <a:lnTo>
                    <a:pt x="19" y="19"/>
                  </a:lnTo>
                  <a:lnTo>
                    <a:pt x="30" y="0"/>
                  </a:lnTo>
                  <a:close/>
                </a:path>
              </a:pathLst>
            </a:custGeom>
            <a:solidFill>
              <a:srgbClr val="00CC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3" name="Google Shape;556;p19">
              <a:extLst>
                <a:ext uri="{FF2B5EF4-FFF2-40B4-BE49-F238E27FC236}">
                  <a16:creationId xmlns:a16="http://schemas.microsoft.com/office/drawing/2014/main" id="{69B7CD1A-4DA8-4801-9FE2-0A852FF9BCA0}"/>
                </a:ext>
              </a:extLst>
            </p:cNvPr>
            <p:cNvSpPr/>
            <p:nvPr/>
          </p:nvSpPr>
          <p:spPr>
            <a:xfrm>
              <a:off x="2058" y="1138"/>
              <a:ext cx="17" cy="54"/>
            </a:xfrm>
            <a:custGeom>
              <a:avLst/>
              <a:gdLst/>
              <a:ahLst/>
              <a:cxnLst/>
              <a:rect l="l" t="t" r="r" b="b"/>
              <a:pathLst>
                <a:path w="62" h="210" extrusionOk="0">
                  <a:moveTo>
                    <a:pt x="30" y="0"/>
                  </a:moveTo>
                  <a:lnTo>
                    <a:pt x="54" y="3"/>
                  </a:lnTo>
                  <a:lnTo>
                    <a:pt x="59" y="35"/>
                  </a:lnTo>
                  <a:lnTo>
                    <a:pt x="62" y="92"/>
                  </a:lnTo>
                  <a:lnTo>
                    <a:pt x="54" y="122"/>
                  </a:lnTo>
                  <a:lnTo>
                    <a:pt x="55" y="150"/>
                  </a:lnTo>
                  <a:lnTo>
                    <a:pt x="45" y="180"/>
                  </a:lnTo>
                  <a:lnTo>
                    <a:pt x="38" y="191"/>
                  </a:lnTo>
                  <a:lnTo>
                    <a:pt x="22" y="210"/>
                  </a:lnTo>
                  <a:lnTo>
                    <a:pt x="1" y="169"/>
                  </a:lnTo>
                  <a:lnTo>
                    <a:pt x="0" y="141"/>
                  </a:lnTo>
                  <a:lnTo>
                    <a:pt x="3" y="110"/>
                  </a:lnTo>
                  <a:lnTo>
                    <a:pt x="13" y="81"/>
                  </a:lnTo>
                  <a:lnTo>
                    <a:pt x="7" y="56"/>
                  </a:lnTo>
                  <a:lnTo>
                    <a:pt x="19" y="19"/>
                  </a:lnTo>
                  <a:lnTo>
                    <a:pt x="30" y="0"/>
                  </a:lnTo>
                </a:path>
              </a:pathLst>
            </a:custGeom>
            <a:solidFill>
              <a:srgbClr val="B9D9E9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4" name="Google Shape;557;p19">
              <a:extLst>
                <a:ext uri="{FF2B5EF4-FFF2-40B4-BE49-F238E27FC236}">
                  <a16:creationId xmlns:a16="http://schemas.microsoft.com/office/drawing/2014/main" id="{95B21072-7D00-403F-AE7C-2AD5AAAFF14B}"/>
                </a:ext>
              </a:extLst>
            </p:cNvPr>
            <p:cNvSpPr/>
            <p:nvPr/>
          </p:nvSpPr>
          <p:spPr>
            <a:xfrm>
              <a:off x="2978" y="1361"/>
              <a:ext cx="164" cy="117"/>
            </a:xfrm>
            <a:custGeom>
              <a:avLst/>
              <a:gdLst/>
              <a:ahLst/>
              <a:cxnLst/>
              <a:rect l="l" t="t" r="r" b="b"/>
              <a:pathLst>
                <a:path w="575" h="441" extrusionOk="0">
                  <a:moveTo>
                    <a:pt x="226" y="354"/>
                  </a:moveTo>
                  <a:lnTo>
                    <a:pt x="209" y="342"/>
                  </a:lnTo>
                  <a:lnTo>
                    <a:pt x="194" y="332"/>
                  </a:lnTo>
                  <a:lnTo>
                    <a:pt x="168" y="308"/>
                  </a:lnTo>
                  <a:lnTo>
                    <a:pt x="141" y="256"/>
                  </a:lnTo>
                  <a:lnTo>
                    <a:pt x="136" y="228"/>
                  </a:lnTo>
                  <a:lnTo>
                    <a:pt x="109" y="180"/>
                  </a:lnTo>
                  <a:lnTo>
                    <a:pt x="79" y="176"/>
                  </a:lnTo>
                  <a:lnTo>
                    <a:pt x="50" y="192"/>
                  </a:lnTo>
                  <a:lnTo>
                    <a:pt x="28" y="217"/>
                  </a:lnTo>
                  <a:lnTo>
                    <a:pt x="13" y="245"/>
                  </a:lnTo>
                  <a:lnTo>
                    <a:pt x="0" y="244"/>
                  </a:lnTo>
                  <a:lnTo>
                    <a:pt x="10" y="222"/>
                  </a:lnTo>
                  <a:lnTo>
                    <a:pt x="12" y="208"/>
                  </a:lnTo>
                  <a:lnTo>
                    <a:pt x="39" y="144"/>
                  </a:lnTo>
                  <a:lnTo>
                    <a:pt x="84" y="88"/>
                  </a:lnTo>
                  <a:lnTo>
                    <a:pt x="111" y="58"/>
                  </a:lnTo>
                  <a:lnTo>
                    <a:pt x="115" y="52"/>
                  </a:lnTo>
                  <a:lnTo>
                    <a:pt x="142" y="39"/>
                  </a:lnTo>
                  <a:lnTo>
                    <a:pt x="172" y="18"/>
                  </a:lnTo>
                  <a:lnTo>
                    <a:pt x="205" y="7"/>
                  </a:lnTo>
                  <a:lnTo>
                    <a:pt x="270" y="0"/>
                  </a:lnTo>
                  <a:lnTo>
                    <a:pt x="289" y="14"/>
                  </a:lnTo>
                  <a:lnTo>
                    <a:pt x="291" y="41"/>
                  </a:lnTo>
                  <a:lnTo>
                    <a:pt x="282" y="59"/>
                  </a:lnTo>
                  <a:lnTo>
                    <a:pt x="267" y="74"/>
                  </a:lnTo>
                  <a:lnTo>
                    <a:pt x="216" y="87"/>
                  </a:lnTo>
                  <a:lnTo>
                    <a:pt x="212" y="99"/>
                  </a:lnTo>
                  <a:lnTo>
                    <a:pt x="217" y="112"/>
                  </a:lnTo>
                  <a:lnTo>
                    <a:pt x="229" y="124"/>
                  </a:lnTo>
                  <a:lnTo>
                    <a:pt x="270" y="109"/>
                  </a:lnTo>
                  <a:lnTo>
                    <a:pt x="285" y="110"/>
                  </a:lnTo>
                  <a:lnTo>
                    <a:pt x="290" y="122"/>
                  </a:lnTo>
                  <a:lnTo>
                    <a:pt x="273" y="139"/>
                  </a:lnTo>
                  <a:lnTo>
                    <a:pt x="274" y="151"/>
                  </a:lnTo>
                  <a:lnTo>
                    <a:pt x="295" y="163"/>
                  </a:lnTo>
                  <a:lnTo>
                    <a:pt x="303" y="170"/>
                  </a:lnTo>
                  <a:lnTo>
                    <a:pt x="312" y="203"/>
                  </a:lnTo>
                  <a:lnTo>
                    <a:pt x="339" y="219"/>
                  </a:lnTo>
                  <a:lnTo>
                    <a:pt x="362" y="241"/>
                  </a:lnTo>
                  <a:lnTo>
                    <a:pt x="441" y="230"/>
                  </a:lnTo>
                  <a:lnTo>
                    <a:pt x="475" y="219"/>
                  </a:lnTo>
                  <a:lnTo>
                    <a:pt x="522" y="214"/>
                  </a:lnTo>
                  <a:lnTo>
                    <a:pt x="554" y="228"/>
                  </a:lnTo>
                  <a:lnTo>
                    <a:pt x="575" y="229"/>
                  </a:lnTo>
                  <a:lnTo>
                    <a:pt x="573" y="235"/>
                  </a:lnTo>
                  <a:lnTo>
                    <a:pt x="550" y="253"/>
                  </a:lnTo>
                  <a:lnTo>
                    <a:pt x="514" y="265"/>
                  </a:lnTo>
                  <a:lnTo>
                    <a:pt x="488" y="279"/>
                  </a:lnTo>
                  <a:lnTo>
                    <a:pt x="459" y="294"/>
                  </a:lnTo>
                  <a:lnTo>
                    <a:pt x="429" y="320"/>
                  </a:lnTo>
                  <a:lnTo>
                    <a:pt x="410" y="341"/>
                  </a:lnTo>
                  <a:lnTo>
                    <a:pt x="395" y="379"/>
                  </a:lnTo>
                  <a:lnTo>
                    <a:pt x="386" y="408"/>
                  </a:lnTo>
                  <a:lnTo>
                    <a:pt x="374" y="429"/>
                  </a:lnTo>
                  <a:lnTo>
                    <a:pt x="356" y="438"/>
                  </a:lnTo>
                  <a:lnTo>
                    <a:pt x="329" y="441"/>
                  </a:lnTo>
                  <a:lnTo>
                    <a:pt x="306" y="424"/>
                  </a:lnTo>
                  <a:lnTo>
                    <a:pt x="295" y="392"/>
                  </a:lnTo>
                  <a:lnTo>
                    <a:pt x="301" y="360"/>
                  </a:lnTo>
                  <a:lnTo>
                    <a:pt x="323" y="334"/>
                  </a:lnTo>
                  <a:lnTo>
                    <a:pt x="352" y="319"/>
                  </a:lnTo>
                  <a:lnTo>
                    <a:pt x="407" y="300"/>
                  </a:lnTo>
                  <a:lnTo>
                    <a:pt x="415" y="294"/>
                  </a:lnTo>
                  <a:lnTo>
                    <a:pt x="413" y="281"/>
                  </a:lnTo>
                  <a:lnTo>
                    <a:pt x="402" y="276"/>
                  </a:lnTo>
                  <a:lnTo>
                    <a:pt x="363" y="289"/>
                  </a:lnTo>
                  <a:lnTo>
                    <a:pt x="362" y="267"/>
                  </a:lnTo>
                  <a:lnTo>
                    <a:pt x="347" y="266"/>
                  </a:lnTo>
                  <a:lnTo>
                    <a:pt x="319" y="283"/>
                  </a:lnTo>
                  <a:lnTo>
                    <a:pt x="293" y="304"/>
                  </a:lnTo>
                  <a:lnTo>
                    <a:pt x="268" y="305"/>
                  </a:lnTo>
                  <a:lnTo>
                    <a:pt x="253" y="320"/>
                  </a:lnTo>
                  <a:lnTo>
                    <a:pt x="226" y="354"/>
                  </a:lnTo>
                  <a:close/>
                </a:path>
              </a:pathLst>
            </a:custGeom>
            <a:solidFill>
              <a:srgbClr val="00CC00"/>
            </a:solidFill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5" name="Google Shape;558;p19">
              <a:extLst>
                <a:ext uri="{FF2B5EF4-FFF2-40B4-BE49-F238E27FC236}">
                  <a16:creationId xmlns:a16="http://schemas.microsoft.com/office/drawing/2014/main" id="{B5B2A222-FD0F-443B-B595-5AA7DD3DDF88}"/>
                </a:ext>
              </a:extLst>
            </p:cNvPr>
            <p:cNvSpPr/>
            <p:nvPr/>
          </p:nvSpPr>
          <p:spPr>
            <a:xfrm>
              <a:off x="2978" y="1361"/>
              <a:ext cx="164" cy="117"/>
            </a:xfrm>
            <a:custGeom>
              <a:avLst/>
              <a:gdLst/>
              <a:ahLst/>
              <a:cxnLst/>
              <a:rect l="l" t="t" r="r" b="b"/>
              <a:pathLst>
                <a:path w="575" h="441" extrusionOk="0">
                  <a:moveTo>
                    <a:pt x="226" y="354"/>
                  </a:moveTo>
                  <a:lnTo>
                    <a:pt x="209" y="342"/>
                  </a:lnTo>
                  <a:lnTo>
                    <a:pt x="194" y="332"/>
                  </a:lnTo>
                  <a:lnTo>
                    <a:pt x="168" y="308"/>
                  </a:lnTo>
                  <a:lnTo>
                    <a:pt x="141" y="256"/>
                  </a:lnTo>
                  <a:lnTo>
                    <a:pt x="136" y="228"/>
                  </a:lnTo>
                  <a:lnTo>
                    <a:pt x="109" y="180"/>
                  </a:lnTo>
                  <a:lnTo>
                    <a:pt x="79" y="176"/>
                  </a:lnTo>
                  <a:lnTo>
                    <a:pt x="50" y="192"/>
                  </a:lnTo>
                  <a:lnTo>
                    <a:pt x="28" y="217"/>
                  </a:lnTo>
                  <a:lnTo>
                    <a:pt x="13" y="245"/>
                  </a:lnTo>
                  <a:lnTo>
                    <a:pt x="0" y="244"/>
                  </a:lnTo>
                  <a:lnTo>
                    <a:pt x="10" y="222"/>
                  </a:lnTo>
                  <a:lnTo>
                    <a:pt x="12" y="208"/>
                  </a:lnTo>
                  <a:lnTo>
                    <a:pt x="39" y="144"/>
                  </a:lnTo>
                  <a:lnTo>
                    <a:pt x="84" y="88"/>
                  </a:lnTo>
                  <a:lnTo>
                    <a:pt x="111" y="58"/>
                  </a:lnTo>
                  <a:lnTo>
                    <a:pt x="115" y="52"/>
                  </a:lnTo>
                  <a:lnTo>
                    <a:pt x="142" y="39"/>
                  </a:lnTo>
                  <a:lnTo>
                    <a:pt x="172" y="18"/>
                  </a:lnTo>
                  <a:lnTo>
                    <a:pt x="205" y="7"/>
                  </a:lnTo>
                  <a:lnTo>
                    <a:pt x="270" y="0"/>
                  </a:lnTo>
                  <a:lnTo>
                    <a:pt x="289" y="14"/>
                  </a:lnTo>
                  <a:lnTo>
                    <a:pt x="291" y="41"/>
                  </a:lnTo>
                  <a:lnTo>
                    <a:pt x="282" y="59"/>
                  </a:lnTo>
                  <a:lnTo>
                    <a:pt x="267" y="74"/>
                  </a:lnTo>
                  <a:lnTo>
                    <a:pt x="216" y="87"/>
                  </a:lnTo>
                  <a:lnTo>
                    <a:pt x="212" y="99"/>
                  </a:lnTo>
                  <a:lnTo>
                    <a:pt x="217" y="112"/>
                  </a:lnTo>
                  <a:lnTo>
                    <a:pt x="229" y="124"/>
                  </a:lnTo>
                  <a:lnTo>
                    <a:pt x="270" y="109"/>
                  </a:lnTo>
                  <a:lnTo>
                    <a:pt x="285" y="110"/>
                  </a:lnTo>
                  <a:lnTo>
                    <a:pt x="290" y="122"/>
                  </a:lnTo>
                  <a:lnTo>
                    <a:pt x="273" y="139"/>
                  </a:lnTo>
                  <a:lnTo>
                    <a:pt x="274" y="151"/>
                  </a:lnTo>
                  <a:lnTo>
                    <a:pt x="295" y="163"/>
                  </a:lnTo>
                  <a:lnTo>
                    <a:pt x="303" y="170"/>
                  </a:lnTo>
                  <a:lnTo>
                    <a:pt x="312" y="203"/>
                  </a:lnTo>
                  <a:lnTo>
                    <a:pt x="339" y="219"/>
                  </a:lnTo>
                  <a:lnTo>
                    <a:pt x="362" y="241"/>
                  </a:lnTo>
                  <a:lnTo>
                    <a:pt x="441" y="230"/>
                  </a:lnTo>
                  <a:lnTo>
                    <a:pt x="475" y="219"/>
                  </a:lnTo>
                  <a:lnTo>
                    <a:pt x="522" y="214"/>
                  </a:lnTo>
                  <a:lnTo>
                    <a:pt x="554" y="228"/>
                  </a:lnTo>
                  <a:lnTo>
                    <a:pt x="575" y="229"/>
                  </a:lnTo>
                  <a:lnTo>
                    <a:pt x="573" y="235"/>
                  </a:lnTo>
                  <a:lnTo>
                    <a:pt x="550" y="253"/>
                  </a:lnTo>
                  <a:lnTo>
                    <a:pt x="514" y="265"/>
                  </a:lnTo>
                  <a:lnTo>
                    <a:pt x="488" y="279"/>
                  </a:lnTo>
                  <a:lnTo>
                    <a:pt x="459" y="294"/>
                  </a:lnTo>
                  <a:lnTo>
                    <a:pt x="429" y="320"/>
                  </a:lnTo>
                  <a:lnTo>
                    <a:pt x="410" y="341"/>
                  </a:lnTo>
                  <a:lnTo>
                    <a:pt x="395" y="379"/>
                  </a:lnTo>
                  <a:lnTo>
                    <a:pt x="386" y="408"/>
                  </a:lnTo>
                  <a:lnTo>
                    <a:pt x="374" y="429"/>
                  </a:lnTo>
                  <a:lnTo>
                    <a:pt x="356" y="438"/>
                  </a:lnTo>
                  <a:lnTo>
                    <a:pt x="329" y="441"/>
                  </a:lnTo>
                  <a:lnTo>
                    <a:pt x="306" y="424"/>
                  </a:lnTo>
                  <a:lnTo>
                    <a:pt x="295" y="392"/>
                  </a:lnTo>
                  <a:lnTo>
                    <a:pt x="301" y="360"/>
                  </a:lnTo>
                  <a:lnTo>
                    <a:pt x="323" y="334"/>
                  </a:lnTo>
                  <a:lnTo>
                    <a:pt x="352" y="319"/>
                  </a:lnTo>
                  <a:lnTo>
                    <a:pt x="407" y="300"/>
                  </a:lnTo>
                  <a:lnTo>
                    <a:pt x="415" y="294"/>
                  </a:lnTo>
                  <a:lnTo>
                    <a:pt x="413" y="281"/>
                  </a:lnTo>
                  <a:lnTo>
                    <a:pt x="402" y="276"/>
                  </a:lnTo>
                  <a:lnTo>
                    <a:pt x="363" y="289"/>
                  </a:lnTo>
                  <a:lnTo>
                    <a:pt x="362" y="267"/>
                  </a:lnTo>
                  <a:lnTo>
                    <a:pt x="347" y="266"/>
                  </a:lnTo>
                  <a:lnTo>
                    <a:pt x="319" y="283"/>
                  </a:lnTo>
                  <a:lnTo>
                    <a:pt x="293" y="304"/>
                  </a:lnTo>
                  <a:lnTo>
                    <a:pt x="268" y="305"/>
                  </a:lnTo>
                  <a:lnTo>
                    <a:pt x="253" y="320"/>
                  </a:lnTo>
                  <a:lnTo>
                    <a:pt x="226" y="354"/>
                  </a:lnTo>
                </a:path>
              </a:pathLst>
            </a:custGeom>
            <a:solidFill>
              <a:srgbClr val="B9D9E9"/>
            </a:solidFill>
            <a:ln w="12700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6" name="Google Shape;559;p19">
              <a:extLst>
                <a:ext uri="{FF2B5EF4-FFF2-40B4-BE49-F238E27FC236}">
                  <a16:creationId xmlns:a16="http://schemas.microsoft.com/office/drawing/2014/main" id="{406F4C01-7C01-46BB-BA94-D6D1614AB5C4}"/>
                </a:ext>
              </a:extLst>
            </p:cNvPr>
            <p:cNvSpPr/>
            <p:nvPr/>
          </p:nvSpPr>
          <p:spPr>
            <a:xfrm>
              <a:off x="2073" y="850"/>
              <a:ext cx="1083" cy="723"/>
            </a:xfrm>
            <a:custGeom>
              <a:avLst/>
              <a:gdLst/>
              <a:ahLst/>
              <a:cxnLst/>
              <a:rect l="l" t="t" r="r" b="b"/>
              <a:pathLst>
                <a:path w="3811" h="2748" extrusionOk="0">
                  <a:moveTo>
                    <a:pt x="3197" y="2194"/>
                  </a:moveTo>
                  <a:lnTo>
                    <a:pt x="3190" y="2231"/>
                  </a:lnTo>
                  <a:lnTo>
                    <a:pt x="3185" y="2263"/>
                  </a:lnTo>
                  <a:lnTo>
                    <a:pt x="3166" y="2298"/>
                  </a:lnTo>
                  <a:lnTo>
                    <a:pt x="3131" y="2340"/>
                  </a:lnTo>
                  <a:lnTo>
                    <a:pt x="3084" y="2365"/>
                  </a:lnTo>
                  <a:lnTo>
                    <a:pt x="3029" y="2372"/>
                  </a:lnTo>
                  <a:lnTo>
                    <a:pt x="2994" y="2366"/>
                  </a:lnTo>
                  <a:lnTo>
                    <a:pt x="2956" y="2374"/>
                  </a:lnTo>
                  <a:lnTo>
                    <a:pt x="2917" y="2396"/>
                  </a:lnTo>
                  <a:lnTo>
                    <a:pt x="2886" y="2431"/>
                  </a:lnTo>
                  <a:lnTo>
                    <a:pt x="2863" y="2476"/>
                  </a:lnTo>
                  <a:lnTo>
                    <a:pt x="2853" y="2508"/>
                  </a:lnTo>
                  <a:lnTo>
                    <a:pt x="2834" y="2525"/>
                  </a:lnTo>
                  <a:lnTo>
                    <a:pt x="2738" y="2564"/>
                  </a:lnTo>
                  <a:lnTo>
                    <a:pt x="2695" y="2585"/>
                  </a:lnTo>
                  <a:lnTo>
                    <a:pt x="2715" y="2625"/>
                  </a:lnTo>
                  <a:lnTo>
                    <a:pt x="2667" y="2642"/>
                  </a:lnTo>
                  <a:lnTo>
                    <a:pt x="2610" y="2668"/>
                  </a:lnTo>
                  <a:lnTo>
                    <a:pt x="2565" y="2692"/>
                  </a:lnTo>
                  <a:lnTo>
                    <a:pt x="2519" y="2721"/>
                  </a:lnTo>
                  <a:lnTo>
                    <a:pt x="2481" y="2745"/>
                  </a:lnTo>
                  <a:lnTo>
                    <a:pt x="2463" y="2748"/>
                  </a:lnTo>
                  <a:lnTo>
                    <a:pt x="2445" y="2726"/>
                  </a:lnTo>
                  <a:lnTo>
                    <a:pt x="2443" y="2717"/>
                  </a:lnTo>
                  <a:lnTo>
                    <a:pt x="2463" y="2679"/>
                  </a:lnTo>
                  <a:lnTo>
                    <a:pt x="2475" y="2638"/>
                  </a:lnTo>
                  <a:lnTo>
                    <a:pt x="2480" y="2591"/>
                  </a:lnTo>
                  <a:lnTo>
                    <a:pt x="2473" y="2551"/>
                  </a:lnTo>
                  <a:lnTo>
                    <a:pt x="2453" y="2515"/>
                  </a:lnTo>
                  <a:lnTo>
                    <a:pt x="2430" y="2459"/>
                  </a:lnTo>
                  <a:lnTo>
                    <a:pt x="2398" y="2411"/>
                  </a:lnTo>
                  <a:lnTo>
                    <a:pt x="2360" y="2367"/>
                  </a:lnTo>
                  <a:lnTo>
                    <a:pt x="2337" y="2343"/>
                  </a:lnTo>
                  <a:lnTo>
                    <a:pt x="2284" y="2307"/>
                  </a:lnTo>
                  <a:lnTo>
                    <a:pt x="2223" y="2274"/>
                  </a:lnTo>
                  <a:lnTo>
                    <a:pt x="2168" y="2237"/>
                  </a:lnTo>
                  <a:lnTo>
                    <a:pt x="2099" y="2202"/>
                  </a:lnTo>
                  <a:lnTo>
                    <a:pt x="2085" y="2204"/>
                  </a:lnTo>
                  <a:lnTo>
                    <a:pt x="2060" y="2224"/>
                  </a:lnTo>
                  <a:lnTo>
                    <a:pt x="2012" y="2227"/>
                  </a:lnTo>
                  <a:lnTo>
                    <a:pt x="1968" y="2222"/>
                  </a:lnTo>
                  <a:lnTo>
                    <a:pt x="1903" y="2224"/>
                  </a:lnTo>
                  <a:lnTo>
                    <a:pt x="1863" y="2213"/>
                  </a:lnTo>
                  <a:lnTo>
                    <a:pt x="1839" y="2186"/>
                  </a:lnTo>
                  <a:lnTo>
                    <a:pt x="1824" y="2182"/>
                  </a:lnTo>
                  <a:lnTo>
                    <a:pt x="1787" y="2191"/>
                  </a:lnTo>
                  <a:lnTo>
                    <a:pt x="1331" y="2154"/>
                  </a:lnTo>
                  <a:lnTo>
                    <a:pt x="850" y="2095"/>
                  </a:lnTo>
                  <a:lnTo>
                    <a:pt x="446" y="2031"/>
                  </a:lnTo>
                  <a:lnTo>
                    <a:pt x="190" y="1976"/>
                  </a:lnTo>
                  <a:lnTo>
                    <a:pt x="162" y="1908"/>
                  </a:lnTo>
                  <a:lnTo>
                    <a:pt x="148" y="1883"/>
                  </a:lnTo>
                  <a:lnTo>
                    <a:pt x="154" y="1837"/>
                  </a:lnTo>
                  <a:lnTo>
                    <a:pt x="148" y="1806"/>
                  </a:lnTo>
                  <a:lnTo>
                    <a:pt x="133" y="1778"/>
                  </a:lnTo>
                  <a:lnTo>
                    <a:pt x="101" y="1761"/>
                  </a:lnTo>
                  <a:lnTo>
                    <a:pt x="66" y="1733"/>
                  </a:lnTo>
                  <a:lnTo>
                    <a:pt x="39" y="1705"/>
                  </a:lnTo>
                  <a:lnTo>
                    <a:pt x="21" y="1690"/>
                  </a:lnTo>
                  <a:lnTo>
                    <a:pt x="20" y="1662"/>
                  </a:lnTo>
                  <a:lnTo>
                    <a:pt x="50" y="1626"/>
                  </a:lnTo>
                  <a:lnTo>
                    <a:pt x="62" y="1586"/>
                  </a:lnTo>
                  <a:lnTo>
                    <a:pt x="61" y="1577"/>
                  </a:lnTo>
                  <a:lnTo>
                    <a:pt x="65" y="1547"/>
                  </a:lnTo>
                  <a:lnTo>
                    <a:pt x="77" y="1515"/>
                  </a:lnTo>
                  <a:lnTo>
                    <a:pt x="92" y="1474"/>
                  </a:lnTo>
                  <a:lnTo>
                    <a:pt x="62" y="1441"/>
                  </a:lnTo>
                  <a:lnTo>
                    <a:pt x="52" y="1434"/>
                  </a:lnTo>
                  <a:lnTo>
                    <a:pt x="49" y="1397"/>
                  </a:lnTo>
                  <a:lnTo>
                    <a:pt x="63" y="1364"/>
                  </a:lnTo>
                  <a:lnTo>
                    <a:pt x="82" y="1321"/>
                  </a:lnTo>
                  <a:lnTo>
                    <a:pt x="95" y="1287"/>
                  </a:lnTo>
                  <a:lnTo>
                    <a:pt x="93" y="1255"/>
                  </a:lnTo>
                  <a:lnTo>
                    <a:pt x="98" y="1231"/>
                  </a:lnTo>
                  <a:lnTo>
                    <a:pt x="103" y="1202"/>
                  </a:lnTo>
                  <a:lnTo>
                    <a:pt x="110" y="1171"/>
                  </a:lnTo>
                  <a:lnTo>
                    <a:pt x="123" y="1135"/>
                  </a:lnTo>
                  <a:lnTo>
                    <a:pt x="125" y="1102"/>
                  </a:lnTo>
                  <a:lnTo>
                    <a:pt x="128" y="1062"/>
                  </a:lnTo>
                  <a:lnTo>
                    <a:pt x="136" y="1031"/>
                  </a:lnTo>
                  <a:lnTo>
                    <a:pt x="137" y="987"/>
                  </a:lnTo>
                  <a:lnTo>
                    <a:pt x="135" y="955"/>
                  </a:lnTo>
                  <a:lnTo>
                    <a:pt x="129" y="927"/>
                  </a:lnTo>
                  <a:lnTo>
                    <a:pt x="115" y="901"/>
                  </a:lnTo>
                  <a:lnTo>
                    <a:pt x="95" y="875"/>
                  </a:lnTo>
                  <a:lnTo>
                    <a:pt x="66" y="848"/>
                  </a:lnTo>
                  <a:lnTo>
                    <a:pt x="55" y="787"/>
                  </a:lnTo>
                  <a:lnTo>
                    <a:pt x="34" y="732"/>
                  </a:lnTo>
                  <a:lnTo>
                    <a:pt x="14" y="703"/>
                  </a:lnTo>
                  <a:lnTo>
                    <a:pt x="0" y="678"/>
                  </a:lnTo>
                  <a:lnTo>
                    <a:pt x="0" y="658"/>
                  </a:lnTo>
                  <a:lnTo>
                    <a:pt x="655" y="0"/>
                  </a:lnTo>
                  <a:lnTo>
                    <a:pt x="666" y="32"/>
                  </a:lnTo>
                  <a:lnTo>
                    <a:pt x="675" y="83"/>
                  </a:lnTo>
                  <a:lnTo>
                    <a:pt x="688" y="119"/>
                  </a:lnTo>
                  <a:lnTo>
                    <a:pt x="701" y="142"/>
                  </a:lnTo>
                  <a:lnTo>
                    <a:pt x="720" y="145"/>
                  </a:lnTo>
                  <a:lnTo>
                    <a:pt x="730" y="123"/>
                  </a:lnTo>
                  <a:lnTo>
                    <a:pt x="747" y="110"/>
                  </a:lnTo>
                  <a:lnTo>
                    <a:pt x="773" y="115"/>
                  </a:lnTo>
                  <a:lnTo>
                    <a:pt x="789" y="121"/>
                  </a:lnTo>
                  <a:lnTo>
                    <a:pt x="797" y="138"/>
                  </a:lnTo>
                  <a:lnTo>
                    <a:pt x="799" y="159"/>
                  </a:lnTo>
                  <a:lnTo>
                    <a:pt x="839" y="162"/>
                  </a:lnTo>
                  <a:lnTo>
                    <a:pt x="870" y="152"/>
                  </a:lnTo>
                  <a:lnTo>
                    <a:pt x="909" y="150"/>
                  </a:lnTo>
                  <a:lnTo>
                    <a:pt x="940" y="157"/>
                  </a:lnTo>
                  <a:lnTo>
                    <a:pt x="953" y="146"/>
                  </a:lnTo>
                  <a:lnTo>
                    <a:pt x="966" y="142"/>
                  </a:lnTo>
                  <a:lnTo>
                    <a:pt x="979" y="157"/>
                  </a:lnTo>
                  <a:lnTo>
                    <a:pt x="1002" y="213"/>
                  </a:lnTo>
                  <a:lnTo>
                    <a:pt x="1012" y="244"/>
                  </a:lnTo>
                  <a:lnTo>
                    <a:pt x="1021" y="238"/>
                  </a:lnTo>
                  <a:lnTo>
                    <a:pt x="1039" y="211"/>
                  </a:lnTo>
                  <a:lnTo>
                    <a:pt x="1054" y="218"/>
                  </a:lnTo>
                  <a:lnTo>
                    <a:pt x="1065" y="240"/>
                  </a:lnTo>
                  <a:lnTo>
                    <a:pt x="1058" y="255"/>
                  </a:lnTo>
                  <a:lnTo>
                    <a:pt x="1058" y="282"/>
                  </a:lnTo>
                  <a:lnTo>
                    <a:pt x="1113" y="278"/>
                  </a:lnTo>
                  <a:lnTo>
                    <a:pt x="1140" y="288"/>
                  </a:lnTo>
                  <a:lnTo>
                    <a:pt x="1155" y="312"/>
                  </a:lnTo>
                  <a:lnTo>
                    <a:pt x="1172" y="352"/>
                  </a:lnTo>
                  <a:lnTo>
                    <a:pt x="1195" y="378"/>
                  </a:lnTo>
                  <a:lnTo>
                    <a:pt x="1235" y="407"/>
                  </a:lnTo>
                  <a:lnTo>
                    <a:pt x="1251" y="426"/>
                  </a:lnTo>
                  <a:lnTo>
                    <a:pt x="1257" y="443"/>
                  </a:lnTo>
                  <a:lnTo>
                    <a:pt x="1256" y="467"/>
                  </a:lnTo>
                  <a:lnTo>
                    <a:pt x="1237" y="494"/>
                  </a:lnTo>
                  <a:lnTo>
                    <a:pt x="1253" y="509"/>
                  </a:lnTo>
                  <a:lnTo>
                    <a:pt x="1295" y="516"/>
                  </a:lnTo>
                  <a:lnTo>
                    <a:pt x="1345" y="528"/>
                  </a:lnTo>
                  <a:lnTo>
                    <a:pt x="1390" y="550"/>
                  </a:lnTo>
                  <a:lnTo>
                    <a:pt x="1418" y="577"/>
                  </a:lnTo>
                  <a:lnTo>
                    <a:pt x="1434" y="621"/>
                  </a:lnTo>
                  <a:lnTo>
                    <a:pt x="1440" y="633"/>
                  </a:lnTo>
                  <a:lnTo>
                    <a:pt x="1450" y="635"/>
                  </a:lnTo>
                  <a:lnTo>
                    <a:pt x="1455" y="629"/>
                  </a:lnTo>
                  <a:lnTo>
                    <a:pt x="1448" y="569"/>
                  </a:lnTo>
                  <a:lnTo>
                    <a:pt x="1458" y="552"/>
                  </a:lnTo>
                  <a:lnTo>
                    <a:pt x="1487" y="541"/>
                  </a:lnTo>
                  <a:lnTo>
                    <a:pt x="1514" y="541"/>
                  </a:lnTo>
                  <a:lnTo>
                    <a:pt x="1518" y="536"/>
                  </a:lnTo>
                  <a:lnTo>
                    <a:pt x="1517" y="531"/>
                  </a:lnTo>
                  <a:lnTo>
                    <a:pt x="1506" y="524"/>
                  </a:lnTo>
                  <a:lnTo>
                    <a:pt x="1477" y="521"/>
                  </a:lnTo>
                  <a:lnTo>
                    <a:pt x="1470" y="509"/>
                  </a:lnTo>
                  <a:lnTo>
                    <a:pt x="1473" y="501"/>
                  </a:lnTo>
                  <a:lnTo>
                    <a:pt x="1541" y="485"/>
                  </a:lnTo>
                  <a:lnTo>
                    <a:pt x="1560" y="492"/>
                  </a:lnTo>
                  <a:lnTo>
                    <a:pt x="1588" y="537"/>
                  </a:lnTo>
                  <a:lnTo>
                    <a:pt x="1613" y="561"/>
                  </a:lnTo>
                  <a:lnTo>
                    <a:pt x="1642" y="560"/>
                  </a:lnTo>
                  <a:lnTo>
                    <a:pt x="1657" y="568"/>
                  </a:lnTo>
                  <a:lnTo>
                    <a:pt x="1689" y="597"/>
                  </a:lnTo>
                  <a:lnTo>
                    <a:pt x="1784" y="585"/>
                  </a:lnTo>
                  <a:lnTo>
                    <a:pt x="1806" y="574"/>
                  </a:lnTo>
                  <a:lnTo>
                    <a:pt x="1821" y="576"/>
                  </a:lnTo>
                  <a:lnTo>
                    <a:pt x="1823" y="611"/>
                  </a:lnTo>
                  <a:lnTo>
                    <a:pt x="1816" y="647"/>
                  </a:lnTo>
                  <a:lnTo>
                    <a:pt x="1821" y="679"/>
                  </a:lnTo>
                  <a:lnTo>
                    <a:pt x="1827" y="683"/>
                  </a:lnTo>
                  <a:lnTo>
                    <a:pt x="1846" y="679"/>
                  </a:lnTo>
                  <a:lnTo>
                    <a:pt x="1853" y="669"/>
                  </a:lnTo>
                  <a:lnTo>
                    <a:pt x="1855" y="648"/>
                  </a:lnTo>
                  <a:lnTo>
                    <a:pt x="1849" y="621"/>
                  </a:lnTo>
                  <a:lnTo>
                    <a:pt x="1856" y="610"/>
                  </a:lnTo>
                  <a:lnTo>
                    <a:pt x="1891" y="589"/>
                  </a:lnTo>
                  <a:lnTo>
                    <a:pt x="1917" y="575"/>
                  </a:lnTo>
                  <a:lnTo>
                    <a:pt x="1938" y="555"/>
                  </a:lnTo>
                  <a:lnTo>
                    <a:pt x="1944" y="532"/>
                  </a:lnTo>
                  <a:lnTo>
                    <a:pt x="1936" y="523"/>
                  </a:lnTo>
                  <a:lnTo>
                    <a:pt x="1906" y="511"/>
                  </a:lnTo>
                  <a:lnTo>
                    <a:pt x="1899" y="504"/>
                  </a:lnTo>
                  <a:lnTo>
                    <a:pt x="1900" y="489"/>
                  </a:lnTo>
                  <a:lnTo>
                    <a:pt x="1912" y="473"/>
                  </a:lnTo>
                  <a:lnTo>
                    <a:pt x="1913" y="464"/>
                  </a:lnTo>
                  <a:lnTo>
                    <a:pt x="1886" y="418"/>
                  </a:lnTo>
                  <a:lnTo>
                    <a:pt x="1882" y="393"/>
                  </a:lnTo>
                  <a:lnTo>
                    <a:pt x="1888" y="362"/>
                  </a:lnTo>
                  <a:lnTo>
                    <a:pt x="1912" y="330"/>
                  </a:lnTo>
                  <a:lnTo>
                    <a:pt x="1919" y="299"/>
                  </a:lnTo>
                  <a:lnTo>
                    <a:pt x="1943" y="274"/>
                  </a:lnTo>
                  <a:lnTo>
                    <a:pt x="1981" y="267"/>
                  </a:lnTo>
                  <a:lnTo>
                    <a:pt x="1991" y="280"/>
                  </a:lnTo>
                  <a:lnTo>
                    <a:pt x="2003" y="312"/>
                  </a:lnTo>
                  <a:lnTo>
                    <a:pt x="2016" y="331"/>
                  </a:lnTo>
                  <a:lnTo>
                    <a:pt x="2022" y="361"/>
                  </a:lnTo>
                  <a:lnTo>
                    <a:pt x="2042" y="374"/>
                  </a:lnTo>
                  <a:lnTo>
                    <a:pt x="2054" y="382"/>
                  </a:lnTo>
                  <a:lnTo>
                    <a:pt x="2055" y="395"/>
                  </a:lnTo>
                  <a:lnTo>
                    <a:pt x="2042" y="411"/>
                  </a:lnTo>
                  <a:lnTo>
                    <a:pt x="2024" y="415"/>
                  </a:lnTo>
                  <a:lnTo>
                    <a:pt x="2016" y="422"/>
                  </a:lnTo>
                  <a:lnTo>
                    <a:pt x="2016" y="441"/>
                  </a:lnTo>
                  <a:lnTo>
                    <a:pt x="2050" y="473"/>
                  </a:lnTo>
                  <a:lnTo>
                    <a:pt x="2056" y="506"/>
                  </a:lnTo>
                  <a:lnTo>
                    <a:pt x="2063" y="540"/>
                  </a:lnTo>
                  <a:lnTo>
                    <a:pt x="2081" y="567"/>
                  </a:lnTo>
                  <a:lnTo>
                    <a:pt x="2104" y="570"/>
                  </a:lnTo>
                  <a:lnTo>
                    <a:pt x="2116" y="543"/>
                  </a:lnTo>
                  <a:lnTo>
                    <a:pt x="2112" y="520"/>
                  </a:lnTo>
                  <a:lnTo>
                    <a:pt x="2096" y="498"/>
                  </a:lnTo>
                  <a:lnTo>
                    <a:pt x="2097" y="477"/>
                  </a:lnTo>
                  <a:lnTo>
                    <a:pt x="2113" y="476"/>
                  </a:lnTo>
                  <a:lnTo>
                    <a:pt x="2129" y="487"/>
                  </a:lnTo>
                  <a:lnTo>
                    <a:pt x="2152" y="536"/>
                  </a:lnTo>
                  <a:lnTo>
                    <a:pt x="2153" y="585"/>
                  </a:lnTo>
                  <a:lnTo>
                    <a:pt x="2164" y="613"/>
                  </a:lnTo>
                  <a:lnTo>
                    <a:pt x="2175" y="621"/>
                  </a:lnTo>
                  <a:lnTo>
                    <a:pt x="2209" y="613"/>
                  </a:lnTo>
                  <a:lnTo>
                    <a:pt x="2220" y="596"/>
                  </a:lnTo>
                  <a:lnTo>
                    <a:pt x="2226" y="567"/>
                  </a:lnTo>
                  <a:lnTo>
                    <a:pt x="2246" y="543"/>
                  </a:lnTo>
                  <a:lnTo>
                    <a:pt x="2248" y="517"/>
                  </a:lnTo>
                  <a:lnTo>
                    <a:pt x="2240" y="458"/>
                  </a:lnTo>
                  <a:lnTo>
                    <a:pt x="2246" y="442"/>
                  </a:lnTo>
                  <a:lnTo>
                    <a:pt x="2255" y="433"/>
                  </a:lnTo>
                  <a:lnTo>
                    <a:pt x="2274" y="432"/>
                  </a:lnTo>
                  <a:lnTo>
                    <a:pt x="2292" y="439"/>
                  </a:lnTo>
                  <a:lnTo>
                    <a:pt x="2306" y="449"/>
                  </a:lnTo>
                  <a:lnTo>
                    <a:pt x="2318" y="485"/>
                  </a:lnTo>
                  <a:lnTo>
                    <a:pt x="2341" y="473"/>
                  </a:lnTo>
                  <a:lnTo>
                    <a:pt x="2355" y="474"/>
                  </a:lnTo>
                  <a:lnTo>
                    <a:pt x="2363" y="481"/>
                  </a:lnTo>
                  <a:lnTo>
                    <a:pt x="2362" y="495"/>
                  </a:lnTo>
                  <a:lnTo>
                    <a:pt x="2341" y="508"/>
                  </a:lnTo>
                  <a:lnTo>
                    <a:pt x="2328" y="526"/>
                  </a:lnTo>
                  <a:lnTo>
                    <a:pt x="2323" y="568"/>
                  </a:lnTo>
                  <a:lnTo>
                    <a:pt x="2337" y="573"/>
                  </a:lnTo>
                  <a:lnTo>
                    <a:pt x="2334" y="595"/>
                  </a:lnTo>
                  <a:lnTo>
                    <a:pt x="2354" y="595"/>
                  </a:lnTo>
                  <a:lnTo>
                    <a:pt x="2369" y="612"/>
                  </a:lnTo>
                  <a:lnTo>
                    <a:pt x="2382" y="622"/>
                  </a:lnTo>
                  <a:lnTo>
                    <a:pt x="2385" y="632"/>
                  </a:lnTo>
                  <a:lnTo>
                    <a:pt x="2343" y="691"/>
                  </a:lnTo>
                  <a:lnTo>
                    <a:pt x="2329" y="702"/>
                  </a:lnTo>
                  <a:lnTo>
                    <a:pt x="2313" y="697"/>
                  </a:lnTo>
                  <a:lnTo>
                    <a:pt x="2298" y="680"/>
                  </a:lnTo>
                  <a:lnTo>
                    <a:pt x="2283" y="694"/>
                  </a:lnTo>
                  <a:lnTo>
                    <a:pt x="2263" y="715"/>
                  </a:lnTo>
                  <a:lnTo>
                    <a:pt x="2251" y="717"/>
                  </a:lnTo>
                  <a:lnTo>
                    <a:pt x="2217" y="702"/>
                  </a:lnTo>
                  <a:lnTo>
                    <a:pt x="2200" y="703"/>
                  </a:lnTo>
                  <a:lnTo>
                    <a:pt x="2193" y="712"/>
                  </a:lnTo>
                  <a:lnTo>
                    <a:pt x="2201" y="727"/>
                  </a:lnTo>
                  <a:lnTo>
                    <a:pt x="2216" y="741"/>
                  </a:lnTo>
                  <a:lnTo>
                    <a:pt x="2205" y="753"/>
                  </a:lnTo>
                  <a:lnTo>
                    <a:pt x="2170" y="773"/>
                  </a:lnTo>
                  <a:lnTo>
                    <a:pt x="2131" y="772"/>
                  </a:lnTo>
                  <a:lnTo>
                    <a:pt x="2101" y="753"/>
                  </a:lnTo>
                  <a:lnTo>
                    <a:pt x="2075" y="746"/>
                  </a:lnTo>
                  <a:lnTo>
                    <a:pt x="2053" y="756"/>
                  </a:lnTo>
                  <a:lnTo>
                    <a:pt x="2055" y="787"/>
                  </a:lnTo>
                  <a:lnTo>
                    <a:pt x="2094" y="812"/>
                  </a:lnTo>
                  <a:lnTo>
                    <a:pt x="2122" y="820"/>
                  </a:lnTo>
                  <a:lnTo>
                    <a:pt x="2138" y="845"/>
                  </a:lnTo>
                  <a:lnTo>
                    <a:pt x="2118" y="882"/>
                  </a:lnTo>
                  <a:lnTo>
                    <a:pt x="2038" y="930"/>
                  </a:lnTo>
                  <a:lnTo>
                    <a:pt x="2002" y="931"/>
                  </a:lnTo>
                  <a:lnTo>
                    <a:pt x="1975" y="926"/>
                  </a:lnTo>
                  <a:lnTo>
                    <a:pt x="1963" y="934"/>
                  </a:lnTo>
                  <a:lnTo>
                    <a:pt x="1958" y="953"/>
                  </a:lnTo>
                  <a:lnTo>
                    <a:pt x="1972" y="964"/>
                  </a:lnTo>
                  <a:lnTo>
                    <a:pt x="1986" y="978"/>
                  </a:lnTo>
                  <a:lnTo>
                    <a:pt x="1978" y="995"/>
                  </a:lnTo>
                  <a:lnTo>
                    <a:pt x="1891" y="1069"/>
                  </a:lnTo>
                  <a:lnTo>
                    <a:pt x="1878" y="1088"/>
                  </a:lnTo>
                  <a:lnTo>
                    <a:pt x="1879" y="1097"/>
                  </a:lnTo>
                  <a:lnTo>
                    <a:pt x="1861" y="1126"/>
                  </a:lnTo>
                  <a:lnTo>
                    <a:pt x="1838" y="1149"/>
                  </a:lnTo>
                  <a:lnTo>
                    <a:pt x="1813" y="1177"/>
                  </a:lnTo>
                  <a:lnTo>
                    <a:pt x="1783" y="1193"/>
                  </a:lnTo>
                  <a:lnTo>
                    <a:pt x="1784" y="1202"/>
                  </a:lnTo>
                  <a:lnTo>
                    <a:pt x="1799" y="1228"/>
                  </a:lnTo>
                  <a:lnTo>
                    <a:pt x="1792" y="1259"/>
                  </a:lnTo>
                  <a:lnTo>
                    <a:pt x="1789" y="1298"/>
                  </a:lnTo>
                  <a:lnTo>
                    <a:pt x="1806" y="1313"/>
                  </a:lnTo>
                  <a:lnTo>
                    <a:pt x="1850" y="1314"/>
                  </a:lnTo>
                  <a:lnTo>
                    <a:pt x="1864" y="1317"/>
                  </a:lnTo>
                  <a:lnTo>
                    <a:pt x="1872" y="1325"/>
                  </a:lnTo>
                  <a:lnTo>
                    <a:pt x="1887" y="1385"/>
                  </a:lnTo>
                  <a:lnTo>
                    <a:pt x="1891" y="1423"/>
                  </a:lnTo>
                  <a:lnTo>
                    <a:pt x="1897" y="1451"/>
                  </a:lnTo>
                  <a:lnTo>
                    <a:pt x="1913" y="1467"/>
                  </a:lnTo>
                  <a:lnTo>
                    <a:pt x="1937" y="1463"/>
                  </a:lnTo>
                  <a:lnTo>
                    <a:pt x="1963" y="1444"/>
                  </a:lnTo>
                  <a:lnTo>
                    <a:pt x="1979" y="1441"/>
                  </a:lnTo>
                  <a:lnTo>
                    <a:pt x="2011" y="1453"/>
                  </a:lnTo>
                  <a:lnTo>
                    <a:pt x="2049" y="1479"/>
                  </a:lnTo>
                  <a:lnTo>
                    <a:pt x="2078" y="1482"/>
                  </a:lnTo>
                  <a:lnTo>
                    <a:pt x="2106" y="1497"/>
                  </a:lnTo>
                  <a:lnTo>
                    <a:pt x="2127" y="1516"/>
                  </a:lnTo>
                  <a:lnTo>
                    <a:pt x="2134" y="1549"/>
                  </a:lnTo>
                  <a:lnTo>
                    <a:pt x="2145" y="1555"/>
                  </a:lnTo>
                  <a:lnTo>
                    <a:pt x="2204" y="1563"/>
                  </a:lnTo>
                  <a:lnTo>
                    <a:pt x="2271" y="1565"/>
                  </a:lnTo>
                  <a:lnTo>
                    <a:pt x="2306" y="1578"/>
                  </a:lnTo>
                  <a:lnTo>
                    <a:pt x="2365" y="1590"/>
                  </a:lnTo>
                  <a:lnTo>
                    <a:pt x="2394" y="1589"/>
                  </a:lnTo>
                  <a:lnTo>
                    <a:pt x="2411" y="1597"/>
                  </a:lnTo>
                  <a:lnTo>
                    <a:pt x="2423" y="1605"/>
                  </a:lnTo>
                  <a:lnTo>
                    <a:pt x="2426" y="1623"/>
                  </a:lnTo>
                  <a:lnTo>
                    <a:pt x="2422" y="1635"/>
                  </a:lnTo>
                  <a:lnTo>
                    <a:pt x="2406" y="1648"/>
                  </a:lnTo>
                  <a:lnTo>
                    <a:pt x="2406" y="1663"/>
                  </a:lnTo>
                  <a:lnTo>
                    <a:pt x="2407" y="1678"/>
                  </a:lnTo>
                  <a:lnTo>
                    <a:pt x="2426" y="1704"/>
                  </a:lnTo>
                  <a:lnTo>
                    <a:pt x="2435" y="1748"/>
                  </a:lnTo>
                  <a:lnTo>
                    <a:pt x="2465" y="1833"/>
                  </a:lnTo>
                  <a:lnTo>
                    <a:pt x="2496" y="1858"/>
                  </a:lnTo>
                  <a:lnTo>
                    <a:pt x="2529" y="1915"/>
                  </a:lnTo>
                  <a:lnTo>
                    <a:pt x="2559" y="1913"/>
                  </a:lnTo>
                  <a:lnTo>
                    <a:pt x="2580" y="1881"/>
                  </a:lnTo>
                  <a:lnTo>
                    <a:pt x="2591" y="1911"/>
                  </a:lnTo>
                  <a:lnTo>
                    <a:pt x="2621" y="1906"/>
                  </a:lnTo>
                  <a:lnTo>
                    <a:pt x="2643" y="1879"/>
                  </a:lnTo>
                  <a:lnTo>
                    <a:pt x="2649" y="1819"/>
                  </a:lnTo>
                  <a:lnTo>
                    <a:pt x="2642" y="1781"/>
                  </a:lnTo>
                  <a:lnTo>
                    <a:pt x="2581" y="1684"/>
                  </a:lnTo>
                  <a:lnTo>
                    <a:pt x="2573" y="1645"/>
                  </a:lnTo>
                  <a:lnTo>
                    <a:pt x="2588" y="1623"/>
                  </a:lnTo>
                  <a:lnTo>
                    <a:pt x="2628" y="1598"/>
                  </a:lnTo>
                  <a:lnTo>
                    <a:pt x="2666" y="1542"/>
                  </a:lnTo>
                  <a:lnTo>
                    <a:pt x="2675" y="1472"/>
                  </a:lnTo>
                  <a:lnTo>
                    <a:pt x="2659" y="1416"/>
                  </a:lnTo>
                  <a:lnTo>
                    <a:pt x="2632" y="1373"/>
                  </a:lnTo>
                  <a:lnTo>
                    <a:pt x="2599" y="1335"/>
                  </a:lnTo>
                  <a:lnTo>
                    <a:pt x="2570" y="1320"/>
                  </a:lnTo>
                  <a:lnTo>
                    <a:pt x="2561" y="1306"/>
                  </a:lnTo>
                  <a:lnTo>
                    <a:pt x="2561" y="1274"/>
                  </a:lnTo>
                  <a:lnTo>
                    <a:pt x="2572" y="1246"/>
                  </a:lnTo>
                  <a:lnTo>
                    <a:pt x="2612" y="1232"/>
                  </a:lnTo>
                  <a:lnTo>
                    <a:pt x="2625" y="1209"/>
                  </a:lnTo>
                  <a:lnTo>
                    <a:pt x="2621" y="1181"/>
                  </a:lnTo>
                  <a:lnTo>
                    <a:pt x="2608" y="1155"/>
                  </a:lnTo>
                  <a:lnTo>
                    <a:pt x="2585" y="1128"/>
                  </a:lnTo>
                  <a:lnTo>
                    <a:pt x="2577" y="1113"/>
                  </a:lnTo>
                  <a:lnTo>
                    <a:pt x="2572" y="1082"/>
                  </a:lnTo>
                  <a:lnTo>
                    <a:pt x="2570" y="1047"/>
                  </a:lnTo>
                  <a:lnTo>
                    <a:pt x="2551" y="1007"/>
                  </a:lnTo>
                  <a:lnTo>
                    <a:pt x="2559" y="968"/>
                  </a:lnTo>
                  <a:lnTo>
                    <a:pt x="2578" y="960"/>
                  </a:lnTo>
                  <a:lnTo>
                    <a:pt x="2599" y="967"/>
                  </a:lnTo>
                  <a:lnTo>
                    <a:pt x="2628" y="982"/>
                  </a:lnTo>
                  <a:lnTo>
                    <a:pt x="2649" y="985"/>
                  </a:lnTo>
                  <a:lnTo>
                    <a:pt x="2680" y="977"/>
                  </a:lnTo>
                  <a:lnTo>
                    <a:pt x="2701" y="959"/>
                  </a:lnTo>
                  <a:lnTo>
                    <a:pt x="2727" y="957"/>
                  </a:lnTo>
                  <a:lnTo>
                    <a:pt x="2756" y="967"/>
                  </a:lnTo>
                  <a:lnTo>
                    <a:pt x="2779" y="986"/>
                  </a:lnTo>
                  <a:lnTo>
                    <a:pt x="2804" y="1019"/>
                  </a:lnTo>
                  <a:lnTo>
                    <a:pt x="2824" y="1039"/>
                  </a:lnTo>
                  <a:lnTo>
                    <a:pt x="2858" y="1051"/>
                  </a:lnTo>
                  <a:lnTo>
                    <a:pt x="2890" y="1052"/>
                  </a:lnTo>
                  <a:lnTo>
                    <a:pt x="2931" y="1041"/>
                  </a:lnTo>
                  <a:lnTo>
                    <a:pt x="2941" y="1059"/>
                  </a:lnTo>
                  <a:lnTo>
                    <a:pt x="2945" y="1074"/>
                  </a:lnTo>
                  <a:lnTo>
                    <a:pt x="2931" y="1098"/>
                  </a:lnTo>
                  <a:lnTo>
                    <a:pt x="2956" y="1139"/>
                  </a:lnTo>
                  <a:lnTo>
                    <a:pt x="2966" y="1159"/>
                  </a:lnTo>
                  <a:lnTo>
                    <a:pt x="2961" y="1209"/>
                  </a:lnTo>
                  <a:lnTo>
                    <a:pt x="2977" y="1220"/>
                  </a:lnTo>
                  <a:lnTo>
                    <a:pt x="3007" y="1215"/>
                  </a:lnTo>
                  <a:lnTo>
                    <a:pt x="3044" y="1243"/>
                  </a:lnTo>
                  <a:lnTo>
                    <a:pt x="3071" y="1246"/>
                  </a:lnTo>
                  <a:lnTo>
                    <a:pt x="3106" y="1240"/>
                  </a:lnTo>
                  <a:lnTo>
                    <a:pt x="3140" y="1209"/>
                  </a:lnTo>
                  <a:lnTo>
                    <a:pt x="3153" y="1167"/>
                  </a:lnTo>
                  <a:lnTo>
                    <a:pt x="3138" y="1130"/>
                  </a:lnTo>
                  <a:lnTo>
                    <a:pt x="3115" y="1118"/>
                  </a:lnTo>
                  <a:lnTo>
                    <a:pt x="3122" y="1085"/>
                  </a:lnTo>
                  <a:lnTo>
                    <a:pt x="3140" y="1054"/>
                  </a:lnTo>
                  <a:lnTo>
                    <a:pt x="3145" y="1030"/>
                  </a:lnTo>
                  <a:lnTo>
                    <a:pt x="3174" y="1045"/>
                  </a:lnTo>
                  <a:lnTo>
                    <a:pt x="3196" y="1066"/>
                  </a:lnTo>
                  <a:lnTo>
                    <a:pt x="3226" y="1080"/>
                  </a:lnTo>
                  <a:lnTo>
                    <a:pt x="3276" y="1132"/>
                  </a:lnTo>
                  <a:lnTo>
                    <a:pt x="3343" y="1170"/>
                  </a:lnTo>
                  <a:lnTo>
                    <a:pt x="3366" y="1230"/>
                  </a:lnTo>
                  <a:lnTo>
                    <a:pt x="3409" y="1266"/>
                  </a:lnTo>
                  <a:lnTo>
                    <a:pt x="3418" y="1341"/>
                  </a:lnTo>
                  <a:lnTo>
                    <a:pt x="3467" y="1355"/>
                  </a:lnTo>
                  <a:lnTo>
                    <a:pt x="3514" y="1394"/>
                  </a:lnTo>
                  <a:lnTo>
                    <a:pt x="3532" y="1399"/>
                  </a:lnTo>
                  <a:lnTo>
                    <a:pt x="3573" y="1384"/>
                  </a:lnTo>
                  <a:lnTo>
                    <a:pt x="3616" y="1387"/>
                  </a:lnTo>
                  <a:lnTo>
                    <a:pt x="3631" y="1378"/>
                  </a:lnTo>
                  <a:lnTo>
                    <a:pt x="3635" y="1377"/>
                  </a:lnTo>
                  <a:lnTo>
                    <a:pt x="3652" y="1385"/>
                  </a:lnTo>
                  <a:lnTo>
                    <a:pt x="3654" y="1398"/>
                  </a:lnTo>
                  <a:lnTo>
                    <a:pt x="3641" y="1429"/>
                  </a:lnTo>
                  <a:lnTo>
                    <a:pt x="3616" y="1443"/>
                  </a:lnTo>
                  <a:lnTo>
                    <a:pt x="3587" y="1474"/>
                  </a:lnTo>
                  <a:lnTo>
                    <a:pt x="3575" y="1504"/>
                  </a:lnTo>
                  <a:lnTo>
                    <a:pt x="3581" y="1525"/>
                  </a:lnTo>
                  <a:lnTo>
                    <a:pt x="3594" y="1530"/>
                  </a:lnTo>
                  <a:lnTo>
                    <a:pt x="3622" y="1503"/>
                  </a:lnTo>
                  <a:lnTo>
                    <a:pt x="3648" y="1472"/>
                  </a:lnTo>
                  <a:lnTo>
                    <a:pt x="3677" y="1436"/>
                  </a:lnTo>
                  <a:lnTo>
                    <a:pt x="3698" y="1428"/>
                  </a:lnTo>
                  <a:lnTo>
                    <a:pt x="3707" y="1432"/>
                  </a:lnTo>
                  <a:lnTo>
                    <a:pt x="3709" y="1452"/>
                  </a:lnTo>
                  <a:lnTo>
                    <a:pt x="3713" y="1460"/>
                  </a:lnTo>
                  <a:lnTo>
                    <a:pt x="3727" y="1463"/>
                  </a:lnTo>
                  <a:lnTo>
                    <a:pt x="3743" y="1444"/>
                  </a:lnTo>
                  <a:lnTo>
                    <a:pt x="3753" y="1443"/>
                  </a:lnTo>
                  <a:lnTo>
                    <a:pt x="3765" y="1450"/>
                  </a:lnTo>
                  <a:lnTo>
                    <a:pt x="3774" y="1474"/>
                  </a:lnTo>
                  <a:lnTo>
                    <a:pt x="3787" y="1506"/>
                  </a:lnTo>
                  <a:lnTo>
                    <a:pt x="3805" y="1517"/>
                  </a:lnTo>
                  <a:lnTo>
                    <a:pt x="3811" y="1557"/>
                  </a:lnTo>
                  <a:lnTo>
                    <a:pt x="3807" y="1584"/>
                  </a:lnTo>
                  <a:lnTo>
                    <a:pt x="3795" y="1606"/>
                  </a:lnTo>
                  <a:lnTo>
                    <a:pt x="3770" y="1631"/>
                  </a:lnTo>
                  <a:lnTo>
                    <a:pt x="3744" y="1640"/>
                  </a:lnTo>
                  <a:lnTo>
                    <a:pt x="3733" y="1675"/>
                  </a:lnTo>
                  <a:lnTo>
                    <a:pt x="3706" y="1740"/>
                  </a:lnTo>
                  <a:lnTo>
                    <a:pt x="3678" y="1767"/>
                  </a:lnTo>
                  <a:lnTo>
                    <a:pt x="3606" y="1791"/>
                  </a:lnTo>
                  <a:lnTo>
                    <a:pt x="3543" y="1808"/>
                  </a:lnTo>
                  <a:lnTo>
                    <a:pt x="3502" y="1817"/>
                  </a:lnTo>
                  <a:lnTo>
                    <a:pt x="3421" y="1839"/>
                  </a:lnTo>
                  <a:lnTo>
                    <a:pt x="3316" y="1863"/>
                  </a:lnTo>
                  <a:lnTo>
                    <a:pt x="3289" y="1903"/>
                  </a:lnTo>
                  <a:lnTo>
                    <a:pt x="3287" y="1936"/>
                  </a:lnTo>
                  <a:lnTo>
                    <a:pt x="3263" y="1960"/>
                  </a:lnTo>
                  <a:lnTo>
                    <a:pt x="3240" y="1980"/>
                  </a:lnTo>
                  <a:lnTo>
                    <a:pt x="3228" y="2001"/>
                  </a:lnTo>
                  <a:lnTo>
                    <a:pt x="3221" y="2035"/>
                  </a:lnTo>
                  <a:lnTo>
                    <a:pt x="3212" y="2066"/>
                  </a:lnTo>
                  <a:lnTo>
                    <a:pt x="3180" y="2121"/>
                  </a:lnTo>
                  <a:lnTo>
                    <a:pt x="3153" y="2185"/>
                  </a:lnTo>
                  <a:lnTo>
                    <a:pt x="3151" y="2194"/>
                  </a:lnTo>
                  <a:lnTo>
                    <a:pt x="3156" y="2203"/>
                  </a:lnTo>
                  <a:lnTo>
                    <a:pt x="3162" y="2206"/>
                  </a:lnTo>
                  <a:lnTo>
                    <a:pt x="3173" y="2204"/>
                  </a:lnTo>
                  <a:lnTo>
                    <a:pt x="3184" y="2193"/>
                  </a:lnTo>
                  <a:lnTo>
                    <a:pt x="3197" y="2194"/>
                  </a:lnTo>
                  <a:close/>
                </a:path>
              </a:pathLst>
            </a:custGeom>
            <a:solidFill>
              <a:srgbClr val="00CC00"/>
            </a:solidFill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7" name="Google Shape;560;p19">
              <a:extLst>
                <a:ext uri="{FF2B5EF4-FFF2-40B4-BE49-F238E27FC236}">
                  <a16:creationId xmlns:a16="http://schemas.microsoft.com/office/drawing/2014/main" id="{C068FEF6-9A0F-4E3A-AED5-A7D453A2C166}"/>
                </a:ext>
              </a:extLst>
            </p:cNvPr>
            <p:cNvSpPr/>
            <p:nvPr/>
          </p:nvSpPr>
          <p:spPr>
            <a:xfrm>
              <a:off x="2073" y="850"/>
              <a:ext cx="1083" cy="723"/>
            </a:xfrm>
            <a:custGeom>
              <a:avLst/>
              <a:gdLst/>
              <a:ahLst/>
              <a:cxnLst/>
              <a:rect l="l" t="t" r="r" b="b"/>
              <a:pathLst>
                <a:path w="3811" h="2748" extrusionOk="0">
                  <a:moveTo>
                    <a:pt x="3197" y="2194"/>
                  </a:moveTo>
                  <a:lnTo>
                    <a:pt x="3190" y="2231"/>
                  </a:lnTo>
                  <a:lnTo>
                    <a:pt x="3185" y="2263"/>
                  </a:lnTo>
                  <a:lnTo>
                    <a:pt x="3166" y="2298"/>
                  </a:lnTo>
                  <a:lnTo>
                    <a:pt x="3131" y="2340"/>
                  </a:lnTo>
                  <a:lnTo>
                    <a:pt x="3084" y="2365"/>
                  </a:lnTo>
                  <a:lnTo>
                    <a:pt x="3029" y="2372"/>
                  </a:lnTo>
                  <a:lnTo>
                    <a:pt x="2994" y="2366"/>
                  </a:lnTo>
                  <a:lnTo>
                    <a:pt x="2956" y="2374"/>
                  </a:lnTo>
                  <a:lnTo>
                    <a:pt x="2917" y="2396"/>
                  </a:lnTo>
                  <a:lnTo>
                    <a:pt x="2886" y="2431"/>
                  </a:lnTo>
                  <a:lnTo>
                    <a:pt x="2863" y="2476"/>
                  </a:lnTo>
                  <a:lnTo>
                    <a:pt x="2853" y="2508"/>
                  </a:lnTo>
                  <a:lnTo>
                    <a:pt x="2834" y="2525"/>
                  </a:lnTo>
                  <a:lnTo>
                    <a:pt x="2738" y="2564"/>
                  </a:lnTo>
                  <a:lnTo>
                    <a:pt x="2695" y="2585"/>
                  </a:lnTo>
                  <a:lnTo>
                    <a:pt x="2715" y="2625"/>
                  </a:lnTo>
                  <a:lnTo>
                    <a:pt x="2667" y="2642"/>
                  </a:lnTo>
                  <a:lnTo>
                    <a:pt x="2610" y="2668"/>
                  </a:lnTo>
                  <a:lnTo>
                    <a:pt x="2565" y="2692"/>
                  </a:lnTo>
                  <a:lnTo>
                    <a:pt x="2519" y="2721"/>
                  </a:lnTo>
                  <a:lnTo>
                    <a:pt x="2481" y="2745"/>
                  </a:lnTo>
                  <a:lnTo>
                    <a:pt x="2463" y="2748"/>
                  </a:lnTo>
                  <a:lnTo>
                    <a:pt x="2445" y="2726"/>
                  </a:lnTo>
                  <a:lnTo>
                    <a:pt x="2443" y="2717"/>
                  </a:lnTo>
                  <a:lnTo>
                    <a:pt x="2463" y="2679"/>
                  </a:lnTo>
                  <a:lnTo>
                    <a:pt x="2475" y="2638"/>
                  </a:lnTo>
                  <a:lnTo>
                    <a:pt x="2480" y="2591"/>
                  </a:lnTo>
                  <a:lnTo>
                    <a:pt x="2473" y="2551"/>
                  </a:lnTo>
                  <a:lnTo>
                    <a:pt x="2453" y="2515"/>
                  </a:lnTo>
                  <a:lnTo>
                    <a:pt x="2430" y="2459"/>
                  </a:lnTo>
                  <a:lnTo>
                    <a:pt x="2398" y="2411"/>
                  </a:lnTo>
                  <a:lnTo>
                    <a:pt x="2360" y="2367"/>
                  </a:lnTo>
                  <a:lnTo>
                    <a:pt x="2337" y="2343"/>
                  </a:lnTo>
                  <a:lnTo>
                    <a:pt x="2284" y="2307"/>
                  </a:lnTo>
                  <a:lnTo>
                    <a:pt x="2223" y="2274"/>
                  </a:lnTo>
                  <a:lnTo>
                    <a:pt x="2168" y="2237"/>
                  </a:lnTo>
                  <a:lnTo>
                    <a:pt x="2099" y="2202"/>
                  </a:lnTo>
                  <a:lnTo>
                    <a:pt x="2085" y="2204"/>
                  </a:lnTo>
                  <a:lnTo>
                    <a:pt x="2060" y="2224"/>
                  </a:lnTo>
                  <a:lnTo>
                    <a:pt x="2012" y="2227"/>
                  </a:lnTo>
                  <a:lnTo>
                    <a:pt x="1968" y="2222"/>
                  </a:lnTo>
                  <a:lnTo>
                    <a:pt x="1903" y="2224"/>
                  </a:lnTo>
                  <a:lnTo>
                    <a:pt x="1863" y="2213"/>
                  </a:lnTo>
                  <a:lnTo>
                    <a:pt x="1839" y="2186"/>
                  </a:lnTo>
                  <a:lnTo>
                    <a:pt x="1824" y="2182"/>
                  </a:lnTo>
                  <a:lnTo>
                    <a:pt x="1787" y="2191"/>
                  </a:lnTo>
                  <a:lnTo>
                    <a:pt x="1331" y="2154"/>
                  </a:lnTo>
                  <a:lnTo>
                    <a:pt x="850" y="2095"/>
                  </a:lnTo>
                  <a:lnTo>
                    <a:pt x="446" y="2031"/>
                  </a:lnTo>
                  <a:lnTo>
                    <a:pt x="190" y="1976"/>
                  </a:lnTo>
                  <a:lnTo>
                    <a:pt x="162" y="1908"/>
                  </a:lnTo>
                  <a:lnTo>
                    <a:pt x="148" y="1883"/>
                  </a:lnTo>
                  <a:lnTo>
                    <a:pt x="154" y="1837"/>
                  </a:lnTo>
                  <a:lnTo>
                    <a:pt x="148" y="1806"/>
                  </a:lnTo>
                  <a:lnTo>
                    <a:pt x="133" y="1778"/>
                  </a:lnTo>
                  <a:lnTo>
                    <a:pt x="101" y="1761"/>
                  </a:lnTo>
                  <a:lnTo>
                    <a:pt x="66" y="1733"/>
                  </a:lnTo>
                  <a:lnTo>
                    <a:pt x="39" y="1705"/>
                  </a:lnTo>
                  <a:lnTo>
                    <a:pt x="21" y="1690"/>
                  </a:lnTo>
                  <a:lnTo>
                    <a:pt x="20" y="1662"/>
                  </a:lnTo>
                  <a:lnTo>
                    <a:pt x="50" y="1626"/>
                  </a:lnTo>
                  <a:lnTo>
                    <a:pt x="62" y="1586"/>
                  </a:lnTo>
                  <a:lnTo>
                    <a:pt x="61" y="1577"/>
                  </a:lnTo>
                  <a:lnTo>
                    <a:pt x="65" y="1547"/>
                  </a:lnTo>
                  <a:lnTo>
                    <a:pt x="77" y="1515"/>
                  </a:lnTo>
                  <a:lnTo>
                    <a:pt x="92" y="1474"/>
                  </a:lnTo>
                  <a:lnTo>
                    <a:pt x="62" y="1441"/>
                  </a:lnTo>
                  <a:lnTo>
                    <a:pt x="52" y="1434"/>
                  </a:lnTo>
                  <a:lnTo>
                    <a:pt x="49" y="1397"/>
                  </a:lnTo>
                  <a:lnTo>
                    <a:pt x="63" y="1364"/>
                  </a:lnTo>
                  <a:lnTo>
                    <a:pt x="82" y="1321"/>
                  </a:lnTo>
                  <a:lnTo>
                    <a:pt x="95" y="1287"/>
                  </a:lnTo>
                  <a:lnTo>
                    <a:pt x="93" y="1255"/>
                  </a:lnTo>
                  <a:lnTo>
                    <a:pt x="98" y="1231"/>
                  </a:lnTo>
                  <a:lnTo>
                    <a:pt x="103" y="1202"/>
                  </a:lnTo>
                  <a:lnTo>
                    <a:pt x="110" y="1171"/>
                  </a:lnTo>
                  <a:lnTo>
                    <a:pt x="123" y="1135"/>
                  </a:lnTo>
                  <a:lnTo>
                    <a:pt x="125" y="1102"/>
                  </a:lnTo>
                  <a:lnTo>
                    <a:pt x="128" y="1062"/>
                  </a:lnTo>
                  <a:lnTo>
                    <a:pt x="136" y="1031"/>
                  </a:lnTo>
                  <a:lnTo>
                    <a:pt x="137" y="987"/>
                  </a:lnTo>
                  <a:lnTo>
                    <a:pt x="135" y="955"/>
                  </a:lnTo>
                  <a:lnTo>
                    <a:pt x="129" y="927"/>
                  </a:lnTo>
                  <a:lnTo>
                    <a:pt x="115" y="901"/>
                  </a:lnTo>
                  <a:lnTo>
                    <a:pt x="95" y="875"/>
                  </a:lnTo>
                  <a:lnTo>
                    <a:pt x="66" y="848"/>
                  </a:lnTo>
                  <a:lnTo>
                    <a:pt x="55" y="787"/>
                  </a:lnTo>
                  <a:lnTo>
                    <a:pt x="34" y="732"/>
                  </a:lnTo>
                  <a:lnTo>
                    <a:pt x="14" y="703"/>
                  </a:lnTo>
                  <a:lnTo>
                    <a:pt x="0" y="678"/>
                  </a:lnTo>
                  <a:lnTo>
                    <a:pt x="0" y="658"/>
                  </a:lnTo>
                  <a:lnTo>
                    <a:pt x="655" y="0"/>
                  </a:lnTo>
                  <a:lnTo>
                    <a:pt x="666" y="32"/>
                  </a:lnTo>
                  <a:lnTo>
                    <a:pt x="675" y="83"/>
                  </a:lnTo>
                  <a:lnTo>
                    <a:pt x="688" y="119"/>
                  </a:lnTo>
                  <a:lnTo>
                    <a:pt x="701" y="142"/>
                  </a:lnTo>
                  <a:lnTo>
                    <a:pt x="720" y="145"/>
                  </a:lnTo>
                  <a:lnTo>
                    <a:pt x="730" y="123"/>
                  </a:lnTo>
                  <a:lnTo>
                    <a:pt x="747" y="110"/>
                  </a:lnTo>
                  <a:lnTo>
                    <a:pt x="773" y="115"/>
                  </a:lnTo>
                  <a:lnTo>
                    <a:pt x="789" y="121"/>
                  </a:lnTo>
                  <a:lnTo>
                    <a:pt x="797" y="138"/>
                  </a:lnTo>
                  <a:lnTo>
                    <a:pt x="799" y="159"/>
                  </a:lnTo>
                  <a:lnTo>
                    <a:pt x="839" y="162"/>
                  </a:lnTo>
                  <a:lnTo>
                    <a:pt x="870" y="152"/>
                  </a:lnTo>
                  <a:lnTo>
                    <a:pt x="909" y="150"/>
                  </a:lnTo>
                  <a:lnTo>
                    <a:pt x="940" y="157"/>
                  </a:lnTo>
                  <a:lnTo>
                    <a:pt x="953" y="146"/>
                  </a:lnTo>
                  <a:lnTo>
                    <a:pt x="966" y="142"/>
                  </a:lnTo>
                  <a:lnTo>
                    <a:pt x="979" y="157"/>
                  </a:lnTo>
                  <a:lnTo>
                    <a:pt x="1002" y="213"/>
                  </a:lnTo>
                  <a:lnTo>
                    <a:pt x="1012" y="244"/>
                  </a:lnTo>
                  <a:lnTo>
                    <a:pt x="1021" y="238"/>
                  </a:lnTo>
                  <a:lnTo>
                    <a:pt x="1039" y="211"/>
                  </a:lnTo>
                  <a:lnTo>
                    <a:pt x="1054" y="218"/>
                  </a:lnTo>
                  <a:lnTo>
                    <a:pt x="1065" y="240"/>
                  </a:lnTo>
                  <a:lnTo>
                    <a:pt x="1058" y="255"/>
                  </a:lnTo>
                  <a:lnTo>
                    <a:pt x="1058" y="282"/>
                  </a:lnTo>
                  <a:lnTo>
                    <a:pt x="1113" y="278"/>
                  </a:lnTo>
                  <a:lnTo>
                    <a:pt x="1140" y="288"/>
                  </a:lnTo>
                  <a:lnTo>
                    <a:pt x="1155" y="312"/>
                  </a:lnTo>
                  <a:lnTo>
                    <a:pt x="1172" y="352"/>
                  </a:lnTo>
                  <a:lnTo>
                    <a:pt x="1195" y="378"/>
                  </a:lnTo>
                  <a:lnTo>
                    <a:pt x="1235" y="407"/>
                  </a:lnTo>
                  <a:lnTo>
                    <a:pt x="1251" y="426"/>
                  </a:lnTo>
                  <a:lnTo>
                    <a:pt x="1257" y="443"/>
                  </a:lnTo>
                  <a:lnTo>
                    <a:pt x="1256" y="467"/>
                  </a:lnTo>
                  <a:lnTo>
                    <a:pt x="1237" y="494"/>
                  </a:lnTo>
                  <a:lnTo>
                    <a:pt x="1253" y="509"/>
                  </a:lnTo>
                  <a:lnTo>
                    <a:pt x="1295" y="516"/>
                  </a:lnTo>
                  <a:lnTo>
                    <a:pt x="1345" y="528"/>
                  </a:lnTo>
                  <a:lnTo>
                    <a:pt x="1390" y="550"/>
                  </a:lnTo>
                  <a:lnTo>
                    <a:pt x="1418" y="577"/>
                  </a:lnTo>
                  <a:lnTo>
                    <a:pt x="1434" y="621"/>
                  </a:lnTo>
                  <a:lnTo>
                    <a:pt x="1440" y="633"/>
                  </a:lnTo>
                  <a:lnTo>
                    <a:pt x="1450" y="635"/>
                  </a:lnTo>
                  <a:lnTo>
                    <a:pt x="1455" y="629"/>
                  </a:lnTo>
                  <a:lnTo>
                    <a:pt x="1448" y="569"/>
                  </a:lnTo>
                  <a:lnTo>
                    <a:pt x="1458" y="552"/>
                  </a:lnTo>
                  <a:lnTo>
                    <a:pt x="1487" y="541"/>
                  </a:lnTo>
                  <a:lnTo>
                    <a:pt x="1514" y="541"/>
                  </a:lnTo>
                  <a:lnTo>
                    <a:pt x="1518" y="536"/>
                  </a:lnTo>
                  <a:lnTo>
                    <a:pt x="1517" y="531"/>
                  </a:lnTo>
                  <a:lnTo>
                    <a:pt x="1506" y="524"/>
                  </a:lnTo>
                  <a:lnTo>
                    <a:pt x="1477" y="521"/>
                  </a:lnTo>
                  <a:lnTo>
                    <a:pt x="1470" y="509"/>
                  </a:lnTo>
                  <a:lnTo>
                    <a:pt x="1473" y="501"/>
                  </a:lnTo>
                  <a:lnTo>
                    <a:pt x="1541" y="485"/>
                  </a:lnTo>
                  <a:lnTo>
                    <a:pt x="1560" y="492"/>
                  </a:lnTo>
                  <a:lnTo>
                    <a:pt x="1588" y="537"/>
                  </a:lnTo>
                  <a:lnTo>
                    <a:pt x="1613" y="561"/>
                  </a:lnTo>
                  <a:lnTo>
                    <a:pt x="1642" y="560"/>
                  </a:lnTo>
                  <a:lnTo>
                    <a:pt x="1657" y="568"/>
                  </a:lnTo>
                  <a:lnTo>
                    <a:pt x="1689" y="597"/>
                  </a:lnTo>
                  <a:lnTo>
                    <a:pt x="1784" y="585"/>
                  </a:lnTo>
                  <a:lnTo>
                    <a:pt x="1806" y="574"/>
                  </a:lnTo>
                  <a:lnTo>
                    <a:pt x="1821" y="576"/>
                  </a:lnTo>
                  <a:lnTo>
                    <a:pt x="1823" y="611"/>
                  </a:lnTo>
                  <a:lnTo>
                    <a:pt x="1816" y="647"/>
                  </a:lnTo>
                  <a:lnTo>
                    <a:pt x="1821" y="679"/>
                  </a:lnTo>
                  <a:lnTo>
                    <a:pt x="1827" y="683"/>
                  </a:lnTo>
                  <a:lnTo>
                    <a:pt x="1846" y="679"/>
                  </a:lnTo>
                  <a:lnTo>
                    <a:pt x="1853" y="669"/>
                  </a:lnTo>
                  <a:lnTo>
                    <a:pt x="1855" y="648"/>
                  </a:lnTo>
                  <a:lnTo>
                    <a:pt x="1849" y="621"/>
                  </a:lnTo>
                  <a:lnTo>
                    <a:pt x="1856" y="610"/>
                  </a:lnTo>
                  <a:lnTo>
                    <a:pt x="1891" y="589"/>
                  </a:lnTo>
                  <a:lnTo>
                    <a:pt x="1917" y="575"/>
                  </a:lnTo>
                  <a:lnTo>
                    <a:pt x="1938" y="555"/>
                  </a:lnTo>
                  <a:lnTo>
                    <a:pt x="1944" y="532"/>
                  </a:lnTo>
                  <a:lnTo>
                    <a:pt x="1936" y="523"/>
                  </a:lnTo>
                  <a:lnTo>
                    <a:pt x="1906" y="511"/>
                  </a:lnTo>
                  <a:lnTo>
                    <a:pt x="1899" y="504"/>
                  </a:lnTo>
                  <a:lnTo>
                    <a:pt x="1900" y="489"/>
                  </a:lnTo>
                  <a:lnTo>
                    <a:pt x="1912" y="473"/>
                  </a:lnTo>
                  <a:lnTo>
                    <a:pt x="1913" y="464"/>
                  </a:lnTo>
                  <a:lnTo>
                    <a:pt x="1886" y="418"/>
                  </a:lnTo>
                  <a:lnTo>
                    <a:pt x="1882" y="393"/>
                  </a:lnTo>
                  <a:lnTo>
                    <a:pt x="1888" y="362"/>
                  </a:lnTo>
                  <a:lnTo>
                    <a:pt x="1912" y="330"/>
                  </a:lnTo>
                  <a:lnTo>
                    <a:pt x="1919" y="299"/>
                  </a:lnTo>
                  <a:lnTo>
                    <a:pt x="1943" y="274"/>
                  </a:lnTo>
                  <a:lnTo>
                    <a:pt x="1981" y="267"/>
                  </a:lnTo>
                  <a:lnTo>
                    <a:pt x="1991" y="280"/>
                  </a:lnTo>
                  <a:lnTo>
                    <a:pt x="2003" y="312"/>
                  </a:lnTo>
                  <a:lnTo>
                    <a:pt x="2016" y="331"/>
                  </a:lnTo>
                  <a:lnTo>
                    <a:pt x="2022" y="361"/>
                  </a:lnTo>
                  <a:lnTo>
                    <a:pt x="2042" y="374"/>
                  </a:lnTo>
                  <a:lnTo>
                    <a:pt x="2054" y="382"/>
                  </a:lnTo>
                  <a:lnTo>
                    <a:pt x="2055" y="395"/>
                  </a:lnTo>
                  <a:lnTo>
                    <a:pt x="2042" y="411"/>
                  </a:lnTo>
                  <a:lnTo>
                    <a:pt x="2024" y="415"/>
                  </a:lnTo>
                  <a:lnTo>
                    <a:pt x="2016" y="422"/>
                  </a:lnTo>
                  <a:lnTo>
                    <a:pt x="2016" y="441"/>
                  </a:lnTo>
                  <a:lnTo>
                    <a:pt x="2050" y="473"/>
                  </a:lnTo>
                  <a:lnTo>
                    <a:pt x="2056" y="506"/>
                  </a:lnTo>
                  <a:lnTo>
                    <a:pt x="2063" y="540"/>
                  </a:lnTo>
                  <a:lnTo>
                    <a:pt x="2081" y="567"/>
                  </a:lnTo>
                  <a:lnTo>
                    <a:pt x="2104" y="570"/>
                  </a:lnTo>
                  <a:lnTo>
                    <a:pt x="2116" y="543"/>
                  </a:lnTo>
                  <a:lnTo>
                    <a:pt x="2112" y="520"/>
                  </a:lnTo>
                  <a:lnTo>
                    <a:pt x="2096" y="498"/>
                  </a:lnTo>
                  <a:lnTo>
                    <a:pt x="2097" y="477"/>
                  </a:lnTo>
                  <a:lnTo>
                    <a:pt x="2113" y="476"/>
                  </a:lnTo>
                  <a:lnTo>
                    <a:pt x="2129" y="487"/>
                  </a:lnTo>
                  <a:lnTo>
                    <a:pt x="2152" y="536"/>
                  </a:lnTo>
                  <a:lnTo>
                    <a:pt x="2153" y="585"/>
                  </a:lnTo>
                  <a:lnTo>
                    <a:pt x="2164" y="613"/>
                  </a:lnTo>
                  <a:lnTo>
                    <a:pt x="2175" y="621"/>
                  </a:lnTo>
                  <a:lnTo>
                    <a:pt x="2209" y="613"/>
                  </a:lnTo>
                  <a:lnTo>
                    <a:pt x="2220" y="596"/>
                  </a:lnTo>
                  <a:lnTo>
                    <a:pt x="2226" y="567"/>
                  </a:lnTo>
                  <a:lnTo>
                    <a:pt x="2246" y="543"/>
                  </a:lnTo>
                  <a:lnTo>
                    <a:pt x="2248" y="517"/>
                  </a:lnTo>
                  <a:lnTo>
                    <a:pt x="2240" y="458"/>
                  </a:lnTo>
                  <a:lnTo>
                    <a:pt x="2246" y="442"/>
                  </a:lnTo>
                  <a:lnTo>
                    <a:pt x="2255" y="433"/>
                  </a:lnTo>
                  <a:lnTo>
                    <a:pt x="2274" y="432"/>
                  </a:lnTo>
                  <a:lnTo>
                    <a:pt x="2292" y="439"/>
                  </a:lnTo>
                  <a:lnTo>
                    <a:pt x="2306" y="449"/>
                  </a:lnTo>
                  <a:lnTo>
                    <a:pt x="2318" y="485"/>
                  </a:lnTo>
                  <a:lnTo>
                    <a:pt x="2341" y="473"/>
                  </a:lnTo>
                  <a:lnTo>
                    <a:pt x="2355" y="474"/>
                  </a:lnTo>
                  <a:lnTo>
                    <a:pt x="2363" y="481"/>
                  </a:lnTo>
                  <a:lnTo>
                    <a:pt x="2362" y="495"/>
                  </a:lnTo>
                  <a:lnTo>
                    <a:pt x="2341" y="508"/>
                  </a:lnTo>
                  <a:lnTo>
                    <a:pt x="2328" y="526"/>
                  </a:lnTo>
                  <a:lnTo>
                    <a:pt x="2323" y="568"/>
                  </a:lnTo>
                  <a:lnTo>
                    <a:pt x="2337" y="573"/>
                  </a:lnTo>
                  <a:lnTo>
                    <a:pt x="2334" y="595"/>
                  </a:lnTo>
                  <a:lnTo>
                    <a:pt x="2354" y="595"/>
                  </a:lnTo>
                  <a:lnTo>
                    <a:pt x="2369" y="612"/>
                  </a:lnTo>
                  <a:lnTo>
                    <a:pt x="2382" y="622"/>
                  </a:lnTo>
                  <a:lnTo>
                    <a:pt x="2385" y="632"/>
                  </a:lnTo>
                  <a:lnTo>
                    <a:pt x="2343" y="691"/>
                  </a:lnTo>
                  <a:lnTo>
                    <a:pt x="2329" y="702"/>
                  </a:lnTo>
                  <a:lnTo>
                    <a:pt x="2313" y="697"/>
                  </a:lnTo>
                  <a:lnTo>
                    <a:pt x="2298" y="680"/>
                  </a:lnTo>
                  <a:lnTo>
                    <a:pt x="2283" y="694"/>
                  </a:lnTo>
                  <a:lnTo>
                    <a:pt x="2263" y="715"/>
                  </a:lnTo>
                  <a:lnTo>
                    <a:pt x="2251" y="717"/>
                  </a:lnTo>
                  <a:lnTo>
                    <a:pt x="2217" y="702"/>
                  </a:lnTo>
                  <a:lnTo>
                    <a:pt x="2200" y="703"/>
                  </a:lnTo>
                  <a:lnTo>
                    <a:pt x="2193" y="712"/>
                  </a:lnTo>
                  <a:lnTo>
                    <a:pt x="2201" y="727"/>
                  </a:lnTo>
                  <a:lnTo>
                    <a:pt x="2216" y="741"/>
                  </a:lnTo>
                  <a:lnTo>
                    <a:pt x="2205" y="753"/>
                  </a:lnTo>
                  <a:lnTo>
                    <a:pt x="2170" y="773"/>
                  </a:lnTo>
                  <a:lnTo>
                    <a:pt x="2131" y="772"/>
                  </a:lnTo>
                  <a:lnTo>
                    <a:pt x="2101" y="753"/>
                  </a:lnTo>
                  <a:lnTo>
                    <a:pt x="2075" y="746"/>
                  </a:lnTo>
                  <a:lnTo>
                    <a:pt x="2053" y="756"/>
                  </a:lnTo>
                  <a:lnTo>
                    <a:pt x="2055" y="787"/>
                  </a:lnTo>
                  <a:lnTo>
                    <a:pt x="2094" y="812"/>
                  </a:lnTo>
                  <a:lnTo>
                    <a:pt x="2122" y="820"/>
                  </a:lnTo>
                  <a:lnTo>
                    <a:pt x="2138" y="845"/>
                  </a:lnTo>
                  <a:lnTo>
                    <a:pt x="2118" y="882"/>
                  </a:lnTo>
                  <a:lnTo>
                    <a:pt x="2038" y="930"/>
                  </a:lnTo>
                  <a:lnTo>
                    <a:pt x="2002" y="931"/>
                  </a:lnTo>
                  <a:lnTo>
                    <a:pt x="1975" y="926"/>
                  </a:lnTo>
                  <a:lnTo>
                    <a:pt x="1963" y="934"/>
                  </a:lnTo>
                  <a:lnTo>
                    <a:pt x="1958" y="953"/>
                  </a:lnTo>
                  <a:lnTo>
                    <a:pt x="1972" y="964"/>
                  </a:lnTo>
                  <a:lnTo>
                    <a:pt x="1986" y="978"/>
                  </a:lnTo>
                  <a:lnTo>
                    <a:pt x="1978" y="995"/>
                  </a:lnTo>
                  <a:lnTo>
                    <a:pt x="1891" y="1069"/>
                  </a:lnTo>
                  <a:lnTo>
                    <a:pt x="1878" y="1088"/>
                  </a:lnTo>
                  <a:lnTo>
                    <a:pt x="1879" y="1097"/>
                  </a:lnTo>
                  <a:lnTo>
                    <a:pt x="1861" y="1126"/>
                  </a:lnTo>
                  <a:lnTo>
                    <a:pt x="1838" y="1149"/>
                  </a:lnTo>
                  <a:lnTo>
                    <a:pt x="1813" y="1177"/>
                  </a:lnTo>
                  <a:lnTo>
                    <a:pt x="1783" y="1193"/>
                  </a:lnTo>
                  <a:lnTo>
                    <a:pt x="1784" y="1202"/>
                  </a:lnTo>
                  <a:lnTo>
                    <a:pt x="1799" y="1228"/>
                  </a:lnTo>
                  <a:lnTo>
                    <a:pt x="1792" y="1259"/>
                  </a:lnTo>
                  <a:lnTo>
                    <a:pt x="1789" y="1298"/>
                  </a:lnTo>
                  <a:lnTo>
                    <a:pt x="1806" y="1313"/>
                  </a:lnTo>
                  <a:lnTo>
                    <a:pt x="1850" y="1314"/>
                  </a:lnTo>
                  <a:lnTo>
                    <a:pt x="1864" y="1317"/>
                  </a:lnTo>
                  <a:lnTo>
                    <a:pt x="1872" y="1325"/>
                  </a:lnTo>
                  <a:lnTo>
                    <a:pt x="1887" y="1385"/>
                  </a:lnTo>
                  <a:lnTo>
                    <a:pt x="1891" y="1423"/>
                  </a:lnTo>
                  <a:lnTo>
                    <a:pt x="1897" y="1451"/>
                  </a:lnTo>
                  <a:lnTo>
                    <a:pt x="1913" y="1467"/>
                  </a:lnTo>
                  <a:lnTo>
                    <a:pt x="1937" y="1463"/>
                  </a:lnTo>
                  <a:lnTo>
                    <a:pt x="1963" y="1444"/>
                  </a:lnTo>
                  <a:lnTo>
                    <a:pt x="1979" y="1441"/>
                  </a:lnTo>
                  <a:lnTo>
                    <a:pt x="2011" y="1453"/>
                  </a:lnTo>
                  <a:lnTo>
                    <a:pt x="2049" y="1479"/>
                  </a:lnTo>
                  <a:lnTo>
                    <a:pt x="2078" y="1482"/>
                  </a:lnTo>
                  <a:lnTo>
                    <a:pt x="2106" y="1497"/>
                  </a:lnTo>
                  <a:lnTo>
                    <a:pt x="2127" y="1516"/>
                  </a:lnTo>
                  <a:lnTo>
                    <a:pt x="2134" y="1549"/>
                  </a:lnTo>
                  <a:lnTo>
                    <a:pt x="2145" y="1555"/>
                  </a:lnTo>
                  <a:lnTo>
                    <a:pt x="2204" y="1563"/>
                  </a:lnTo>
                  <a:lnTo>
                    <a:pt x="2271" y="1565"/>
                  </a:lnTo>
                  <a:lnTo>
                    <a:pt x="2306" y="1578"/>
                  </a:lnTo>
                  <a:lnTo>
                    <a:pt x="2365" y="1590"/>
                  </a:lnTo>
                  <a:lnTo>
                    <a:pt x="2394" y="1589"/>
                  </a:lnTo>
                  <a:lnTo>
                    <a:pt x="2411" y="1597"/>
                  </a:lnTo>
                  <a:lnTo>
                    <a:pt x="2423" y="1605"/>
                  </a:lnTo>
                  <a:lnTo>
                    <a:pt x="2426" y="1623"/>
                  </a:lnTo>
                  <a:lnTo>
                    <a:pt x="2422" y="1635"/>
                  </a:lnTo>
                  <a:lnTo>
                    <a:pt x="2406" y="1648"/>
                  </a:lnTo>
                  <a:lnTo>
                    <a:pt x="2406" y="1663"/>
                  </a:lnTo>
                  <a:lnTo>
                    <a:pt x="2407" y="1678"/>
                  </a:lnTo>
                  <a:lnTo>
                    <a:pt x="2426" y="1704"/>
                  </a:lnTo>
                  <a:lnTo>
                    <a:pt x="2435" y="1748"/>
                  </a:lnTo>
                  <a:lnTo>
                    <a:pt x="2465" y="1833"/>
                  </a:lnTo>
                  <a:lnTo>
                    <a:pt x="2496" y="1858"/>
                  </a:lnTo>
                  <a:lnTo>
                    <a:pt x="2529" y="1915"/>
                  </a:lnTo>
                  <a:lnTo>
                    <a:pt x="2559" y="1913"/>
                  </a:lnTo>
                  <a:lnTo>
                    <a:pt x="2580" y="1881"/>
                  </a:lnTo>
                  <a:lnTo>
                    <a:pt x="2591" y="1911"/>
                  </a:lnTo>
                  <a:lnTo>
                    <a:pt x="2621" y="1906"/>
                  </a:lnTo>
                  <a:lnTo>
                    <a:pt x="2643" y="1879"/>
                  </a:lnTo>
                  <a:lnTo>
                    <a:pt x="2649" y="1819"/>
                  </a:lnTo>
                  <a:lnTo>
                    <a:pt x="2642" y="1781"/>
                  </a:lnTo>
                  <a:lnTo>
                    <a:pt x="2581" y="1684"/>
                  </a:lnTo>
                  <a:lnTo>
                    <a:pt x="2573" y="1645"/>
                  </a:lnTo>
                  <a:lnTo>
                    <a:pt x="2588" y="1623"/>
                  </a:lnTo>
                  <a:lnTo>
                    <a:pt x="2628" y="1598"/>
                  </a:lnTo>
                  <a:lnTo>
                    <a:pt x="2666" y="1542"/>
                  </a:lnTo>
                  <a:lnTo>
                    <a:pt x="2675" y="1472"/>
                  </a:lnTo>
                  <a:lnTo>
                    <a:pt x="2659" y="1416"/>
                  </a:lnTo>
                  <a:lnTo>
                    <a:pt x="2632" y="1373"/>
                  </a:lnTo>
                  <a:lnTo>
                    <a:pt x="2599" y="1335"/>
                  </a:lnTo>
                  <a:lnTo>
                    <a:pt x="2570" y="1320"/>
                  </a:lnTo>
                  <a:lnTo>
                    <a:pt x="2561" y="1306"/>
                  </a:lnTo>
                  <a:lnTo>
                    <a:pt x="2561" y="1274"/>
                  </a:lnTo>
                  <a:lnTo>
                    <a:pt x="2572" y="1246"/>
                  </a:lnTo>
                  <a:lnTo>
                    <a:pt x="2612" y="1232"/>
                  </a:lnTo>
                  <a:lnTo>
                    <a:pt x="2625" y="1209"/>
                  </a:lnTo>
                  <a:lnTo>
                    <a:pt x="2621" y="1181"/>
                  </a:lnTo>
                  <a:lnTo>
                    <a:pt x="2608" y="1155"/>
                  </a:lnTo>
                  <a:lnTo>
                    <a:pt x="2585" y="1128"/>
                  </a:lnTo>
                  <a:lnTo>
                    <a:pt x="2577" y="1113"/>
                  </a:lnTo>
                  <a:lnTo>
                    <a:pt x="2572" y="1082"/>
                  </a:lnTo>
                  <a:lnTo>
                    <a:pt x="2570" y="1047"/>
                  </a:lnTo>
                  <a:lnTo>
                    <a:pt x="2551" y="1007"/>
                  </a:lnTo>
                  <a:lnTo>
                    <a:pt x="2559" y="968"/>
                  </a:lnTo>
                  <a:lnTo>
                    <a:pt x="2578" y="960"/>
                  </a:lnTo>
                  <a:lnTo>
                    <a:pt x="2599" y="967"/>
                  </a:lnTo>
                  <a:lnTo>
                    <a:pt x="2628" y="982"/>
                  </a:lnTo>
                  <a:lnTo>
                    <a:pt x="2649" y="985"/>
                  </a:lnTo>
                  <a:lnTo>
                    <a:pt x="2680" y="977"/>
                  </a:lnTo>
                  <a:lnTo>
                    <a:pt x="2701" y="959"/>
                  </a:lnTo>
                  <a:lnTo>
                    <a:pt x="2727" y="957"/>
                  </a:lnTo>
                  <a:lnTo>
                    <a:pt x="2756" y="967"/>
                  </a:lnTo>
                  <a:lnTo>
                    <a:pt x="2779" y="986"/>
                  </a:lnTo>
                  <a:lnTo>
                    <a:pt x="2804" y="1019"/>
                  </a:lnTo>
                  <a:lnTo>
                    <a:pt x="2824" y="1039"/>
                  </a:lnTo>
                  <a:lnTo>
                    <a:pt x="2858" y="1051"/>
                  </a:lnTo>
                  <a:lnTo>
                    <a:pt x="2890" y="1052"/>
                  </a:lnTo>
                  <a:lnTo>
                    <a:pt x="2931" y="1041"/>
                  </a:lnTo>
                  <a:lnTo>
                    <a:pt x="2941" y="1059"/>
                  </a:lnTo>
                  <a:lnTo>
                    <a:pt x="2945" y="1074"/>
                  </a:lnTo>
                  <a:lnTo>
                    <a:pt x="2931" y="1098"/>
                  </a:lnTo>
                  <a:lnTo>
                    <a:pt x="2956" y="1139"/>
                  </a:lnTo>
                  <a:lnTo>
                    <a:pt x="2966" y="1159"/>
                  </a:lnTo>
                  <a:lnTo>
                    <a:pt x="2961" y="1209"/>
                  </a:lnTo>
                  <a:lnTo>
                    <a:pt x="2977" y="1220"/>
                  </a:lnTo>
                  <a:lnTo>
                    <a:pt x="3007" y="1215"/>
                  </a:lnTo>
                  <a:lnTo>
                    <a:pt x="3044" y="1243"/>
                  </a:lnTo>
                  <a:lnTo>
                    <a:pt x="3071" y="1246"/>
                  </a:lnTo>
                  <a:lnTo>
                    <a:pt x="3106" y="1240"/>
                  </a:lnTo>
                  <a:lnTo>
                    <a:pt x="3140" y="1209"/>
                  </a:lnTo>
                  <a:lnTo>
                    <a:pt x="3153" y="1167"/>
                  </a:lnTo>
                  <a:lnTo>
                    <a:pt x="3138" y="1130"/>
                  </a:lnTo>
                  <a:lnTo>
                    <a:pt x="3115" y="1118"/>
                  </a:lnTo>
                  <a:lnTo>
                    <a:pt x="3122" y="1085"/>
                  </a:lnTo>
                  <a:lnTo>
                    <a:pt x="3140" y="1054"/>
                  </a:lnTo>
                  <a:lnTo>
                    <a:pt x="3145" y="1030"/>
                  </a:lnTo>
                  <a:lnTo>
                    <a:pt x="3174" y="1045"/>
                  </a:lnTo>
                  <a:lnTo>
                    <a:pt x="3196" y="1066"/>
                  </a:lnTo>
                  <a:lnTo>
                    <a:pt x="3226" y="1080"/>
                  </a:lnTo>
                  <a:lnTo>
                    <a:pt x="3276" y="1132"/>
                  </a:lnTo>
                  <a:lnTo>
                    <a:pt x="3343" y="1170"/>
                  </a:lnTo>
                  <a:lnTo>
                    <a:pt x="3366" y="1230"/>
                  </a:lnTo>
                  <a:lnTo>
                    <a:pt x="3409" y="1266"/>
                  </a:lnTo>
                  <a:lnTo>
                    <a:pt x="3418" y="1341"/>
                  </a:lnTo>
                  <a:lnTo>
                    <a:pt x="3467" y="1355"/>
                  </a:lnTo>
                  <a:lnTo>
                    <a:pt x="3514" y="1394"/>
                  </a:lnTo>
                  <a:lnTo>
                    <a:pt x="3532" y="1399"/>
                  </a:lnTo>
                  <a:lnTo>
                    <a:pt x="3573" y="1384"/>
                  </a:lnTo>
                  <a:lnTo>
                    <a:pt x="3616" y="1387"/>
                  </a:lnTo>
                  <a:lnTo>
                    <a:pt x="3631" y="1378"/>
                  </a:lnTo>
                  <a:lnTo>
                    <a:pt x="3635" y="1377"/>
                  </a:lnTo>
                  <a:lnTo>
                    <a:pt x="3652" y="1385"/>
                  </a:lnTo>
                  <a:lnTo>
                    <a:pt x="3654" y="1398"/>
                  </a:lnTo>
                  <a:lnTo>
                    <a:pt x="3641" y="1429"/>
                  </a:lnTo>
                  <a:lnTo>
                    <a:pt x="3616" y="1443"/>
                  </a:lnTo>
                  <a:lnTo>
                    <a:pt x="3587" y="1474"/>
                  </a:lnTo>
                  <a:lnTo>
                    <a:pt x="3575" y="1504"/>
                  </a:lnTo>
                  <a:lnTo>
                    <a:pt x="3581" y="1525"/>
                  </a:lnTo>
                  <a:lnTo>
                    <a:pt x="3594" y="1530"/>
                  </a:lnTo>
                  <a:lnTo>
                    <a:pt x="3622" y="1503"/>
                  </a:lnTo>
                  <a:lnTo>
                    <a:pt x="3648" y="1472"/>
                  </a:lnTo>
                  <a:lnTo>
                    <a:pt x="3677" y="1436"/>
                  </a:lnTo>
                  <a:lnTo>
                    <a:pt x="3698" y="1428"/>
                  </a:lnTo>
                  <a:lnTo>
                    <a:pt x="3707" y="1432"/>
                  </a:lnTo>
                  <a:lnTo>
                    <a:pt x="3709" y="1452"/>
                  </a:lnTo>
                  <a:lnTo>
                    <a:pt x="3713" y="1460"/>
                  </a:lnTo>
                  <a:lnTo>
                    <a:pt x="3727" y="1463"/>
                  </a:lnTo>
                  <a:lnTo>
                    <a:pt x="3743" y="1444"/>
                  </a:lnTo>
                  <a:lnTo>
                    <a:pt x="3753" y="1443"/>
                  </a:lnTo>
                  <a:lnTo>
                    <a:pt x="3765" y="1450"/>
                  </a:lnTo>
                  <a:lnTo>
                    <a:pt x="3774" y="1474"/>
                  </a:lnTo>
                  <a:lnTo>
                    <a:pt x="3787" y="1506"/>
                  </a:lnTo>
                  <a:lnTo>
                    <a:pt x="3805" y="1517"/>
                  </a:lnTo>
                  <a:lnTo>
                    <a:pt x="3811" y="1557"/>
                  </a:lnTo>
                  <a:lnTo>
                    <a:pt x="3807" y="1584"/>
                  </a:lnTo>
                  <a:lnTo>
                    <a:pt x="3795" y="1606"/>
                  </a:lnTo>
                  <a:lnTo>
                    <a:pt x="3770" y="1631"/>
                  </a:lnTo>
                  <a:lnTo>
                    <a:pt x="3744" y="1640"/>
                  </a:lnTo>
                  <a:lnTo>
                    <a:pt x="3733" y="1675"/>
                  </a:lnTo>
                  <a:lnTo>
                    <a:pt x="3706" y="1740"/>
                  </a:lnTo>
                  <a:lnTo>
                    <a:pt x="3678" y="1767"/>
                  </a:lnTo>
                  <a:lnTo>
                    <a:pt x="3606" y="1791"/>
                  </a:lnTo>
                  <a:lnTo>
                    <a:pt x="3543" y="1808"/>
                  </a:lnTo>
                  <a:lnTo>
                    <a:pt x="3502" y="1817"/>
                  </a:lnTo>
                  <a:lnTo>
                    <a:pt x="3421" y="1839"/>
                  </a:lnTo>
                  <a:lnTo>
                    <a:pt x="3316" y="1863"/>
                  </a:lnTo>
                  <a:lnTo>
                    <a:pt x="3289" y="1903"/>
                  </a:lnTo>
                  <a:lnTo>
                    <a:pt x="3287" y="1936"/>
                  </a:lnTo>
                  <a:lnTo>
                    <a:pt x="3263" y="1960"/>
                  </a:lnTo>
                  <a:lnTo>
                    <a:pt x="3240" y="1980"/>
                  </a:lnTo>
                  <a:lnTo>
                    <a:pt x="3228" y="2001"/>
                  </a:lnTo>
                  <a:lnTo>
                    <a:pt x="3221" y="2035"/>
                  </a:lnTo>
                  <a:lnTo>
                    <a:pt x="3212" y="2066"/>
                  </a:lnTo>
                  <a:lnTo>
                    <a:pt x="3180" y="2121"/>
                  </a:lnTo>
                  <a:lnTo>
                    <a:pt x="3153" y="2185"/>
                  </a:lnTo>
                  <a:lnTo>
                    <a:pt x="3151" y="2194"/>
                  </a:lnTo>
                  <a:lnTo>
                    <a:pt x="3156" y="2203"/>
                  </a:lnTo>
                  <a:lnTo>
                    <a:pt x="3162" y="2206"/>
                  </a:lnTo>
                  <a:lnTo>
                    <a:pt x="3173" y="2204"/>
                  </a:lnTo>
                  <a:lnTo>
                    <a:pt x="3184" y="2193"/>
                  </a:lnTo>
                  <a:lnTo>
                    <a:pt x="3197" y="2194"/>
                  </a:lnTo>
                </a:path>
              </a:pathLst>
            </a:custGeom>
            <a:solidFill>
              <a:srgbClr val="B9D9E9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8" name="Google Shape;561;p19">
              <a:extLst>
                <a:ext uri="{FF2B5EF4-FFF2-40B4-BE49-F238E27FC236}">
                  <a16:creationId xmlns:a16="http://schemas.microsoft.com/office/drawing/2014/main" id="{6C9BE5C8-961D-4218-9ABD-EDD1B0AEC6C4}"/>
                </a:ext>
              </a:extLst>
            </p:cNvPr>
            <p:cNvSpPr/>
            <p:nvPr/>
          </p:nvSpPr>
          <p:spPr>
            <a:xfrm>
              <a:off x="2394" y="831"/>
              <a:ext cx="91" cy="60"/>
            </a:xfrm>
            <a:custGeom>
              <a:avLst/>
              <a:gdLst/>
              <a:ahLst/>
              <a:cxnLst/>
              <a:rect l="l" t="t" r="r" b="b"/>
              <a:pathLst>
                <a:path w="324" h="223" extrusionOk="0">
                  <a:moveTo>
                    <a:pt x="280" y="40"/>
                  </a:moveTo>
                  <a:lnTo>
                    <a:pt x="239" y="13"/>
                  </a:lnTo>
                  <a:lnTo>
                    <a:pt x="222" y="0"/>
                  </a:lnTo>
                  <a:lnTo>
                    <a:pt x="175" y="0"/>
                  </a:lnTo>
                  <a:lnTo>
                    <a:pt x="122" y="23"/>
                  </a:lnTo>
                  <a:lnTo>
                    <a:pt x="83" y="63"/>
                  </a:lnTo>
                  <a:lnTo>
                    <a:pt x="58" y="97"/>
                  </a:lnTo>
                  <a:lnTo>
                    <a:pt x="28" y="118"/>
                  </a:lnTo>
                  <a:lnTo>
                    <a:pt x="2" y="136"/>
                  </a:lnTo>
                  <a:lnTo>
                    <a:pt x="0" y="171"/>
                  </a:lnTo>
                  <a:lnTo>
                    <a:pt x="18" y="196"/>
                  </a:lnTo>
                  <a:lnTo>
                    <a:pt x="53" y="223"/>
                  </a:lnTo>
                  <a:lnTo>
                    <a:pt x="81" y="217"/>
                  </a:lnTo>
                  <a:lnTo>
                    <a:pt x="110" y="197"/>
                  </a:lnTo>
                  <a:lnTo>
                    <a:pt x="133" y="168"/>
                  </a:lnTo>
                  <a:lnTo>
                    <a:pt x="179" y="156"/>
                  </a:lnTo>
                  <a:lnTo>
                    <a:pt x="225" y="151"/>
                  </a:lnTo>
                  <a:lnTo>
                    <a:pt x="240" y="133"/>
                  </a:lnTo>
                  <a:lnTo>
                    <a:pt x="286" y="115"/>
                  </a:lnTo>
                  <a:lnTo>
                    <a:pt x="321" y="111"/>
                  </a:lnTo>
                  <a:lnTo>
                    <a:pt x="324" y="97"/>
                  </a:lnTo>
                  <a:lnTo>
                    <a:pt x="280" y="40"/>
                  </a:lnTo>
                  <a:close/>
                </a:path>
              </a:pathLst>
            </a:custGeom>
            <a:solidFill>
              <a:srgbClr val="00CC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9" name="Google Shape;562;p19">
              <a:extLst>
                <a:ext uri="{FF2B5EF4-FFF2-40B4-BE49-F238E27FC236}">
                  <a16:creationId xmlns:a16="http://schemas.microsoft.com/office/drawing/2014/main" id="{5FC94A07-9DE3-4E7D-8CC2-BA22A3E679E0}"/>
                </a:ext>
              </a:extLst>
            </p:cNvPr>
            <p:cNvSpPr/>
            <p:nvPr/>
          </p:nvSpPr>
          <p:spPr>
            <a:xfrm>
              <a:off x="2394" y="831"/>
              <a:ext cx="91" cy="60"/>
            </a:xfrm>
            <a:custGeom>
              <a:avLst/>
              <a:gdLst/>
              <a:ahLst/>
              <a:cxnLst/>
              <a:rect l="l" t="t" r="r" b="b"/>
              <a:pathLst>
                <a:path w="324" h="223" extrusionOk="0">
                  <a:moveTo>
                    <a:pt x="280" y="40"/>
                  </a:moveTo>
                  <a:lnTo>
                    <a:pt x="239" y="13"/>
                  </a:lnTo>
                  <a:lnTo>
                    <a:pt x="222" y="0"/>
                  </a:lnTo>
                  <a:lnTo>
                    <a:pt x="175" y="0"/>
                  </a:lnTo>
                  <a:lnTo>
                    <a:pt x="122" y="23"/>
                  </a:lnTo>
                  <a:lnTo>
                    <a:pt x="83" y="63"/>
                  </a:lnTo>
                  <a:lnTo>
                    <a:pt x="58" y="97"/>
                  </a:lnTo>
                  <a:lnTo>
                    <a:pt x="28" y="118"/>
                  </a:lnTo>
                  <a:lnTo>
                    <a:pt x="2" y="136"/>
                  </a:lnTo>
                  <a:lnTo>
                    <a:pt x="0" y="171"/>
                  </a:lnTo>
                  <a:lnTo>
                    <a:pt x="18" y="196"/>
                  </a:lnTo>
                  <a:lnTo>
                    <a:pt x="53" y="223"/>
                  </a:lnTo>
                  <a:lnTo>
                    <a:pt x="81" y="217"/>
                  </a:lnTo>
                  <a:lnTo>
                    <a:pt x="110" y="197"/>
                  </a:lnTo>
                  <a:lnTo>
                    <a:pt x="133" y="168"/>
                  </a:lnTo>
                  <a:lnTo>
                    <a:pt x="179" y="156"/>
                  </a:lnTo>
                  <a:lnTo>
                    <a:pt x="225" y="151"/>
                  </a:lnTo>
                  <a:lnTo>
                    <a:pt x="240" y="133"/>
                  </a:lnTo>
                  <a:lnTo>
                    <a:pt x="286" y="115"/>
                  </a:lnTo>
                  <a:lnTo>
                    <a:pt x="321" y="111"/>
                  </a:lnTo>
                  <a:lnTo>
                    <a:pt x="324" y="97"/>
                  </a:lnTo>
                  <a:lnTo>
                    <a:pt x="280" y="40"/>
                  </a:lnTo>
                </a:path>
              </a:pathLst>
            </a:custGeom>
            <a:solidFill>
              <a:srgbClr val="B9D9E9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0" name="Google Shape;563;p19">
              <a:extLst>
                <a:ext uri="{FF2B5EF4-FFF2-40B4-BE49-F238E27FC236}">
                  <a16:creationId xmlns:a16="http://schemas.microsoft.com/office/drawing/2014/main" id="{A439FE5E-A4B8-4D0B-9B68-C126B37DC304}"/>
                </a:ext>
              </a:extLst>
            </p:cNvPr>
            <p:cNvSpPr/>
            <p:nvPr/>
          </p:nvSpPr>
          <p:spPr>
            <a:xfrm>
              <a:off x="2662" y="835"/>
              <a:ext cx="86" cy="32"/>
            </a:xfrm>
            <a:custGeom>
              <a:avLst/>
              <a:gdLst/>
              <a:ahLst/>
              <a:cxnLst/>
              <a:rect l="l" t="t" r="r" b="b"/>
              <a:pathLst>
                <a:path w="302" h="122" extrusionOk="0">
                  <a:moveTo>
                    <a:pt x="48" y="7"/>
                  </a:moveTo>
                  <a:lnTo>
                    <a:pt x="82" y="3"/>
                  </a:lnTo>
                  <a:lnTo>
                    <a:pt x="142" y="11"/>
                  </a:lnTo>
                  <a:lnTo>
                    <a:pt x="200" y="6"/>
                  </a:lnTo>
                  <a:lnTo>
                    <a:pt x="244" y="0"/>
                  </a:lnTo>
                  <a:lnTo>
                    <a:pt x="276" y="18"/>
                  </a:lnTo>
                  <a:lnTo>
                    <a:pt x="299" y="41"/>
                  </a:lnTo>
                  <a:lnTo>
                    <a:pt x="302" y="55"/>
                  </a:lnTo>
                  <a:lnTo>
                    <a:pt x="298" y="84"/>
                  </a:lnTo>
                  <a:lnTo>
                    <a:pt x="293" y="91"/>
                  </a:lnTo>
                  <a:lnTo>
                    <a:pt x="271" y="116"/>
                  </a:lnTo>
                  <a:lnTo>
                    <a:pt x="233" y="122"/>
                  </a:lnTo>
                  <a:lnTo>
                    <a:pt x="201" y="109"/>
                  </a:lnTo>
                  <a:lnTo>
                    <a:pt x="180" y="113"/>
                  </a:lnTo>
                  <a:lnTo>
                    <a:pt x="142" y="120"/>
                  </a:lnTo>
                  <a:lnTo>
                    <a:pt x="130" y="121"/>
                  </a:lnTo>
                  <a:lnTo>
                    <a:pt x="91" y="102"/>
                  </a:lnTo>
                  <a:lnTo>
                    <a:pt x="55" y="98"/>
                  </a:lnTo>
                  <a:lnTo>
                    <a:pt x="32" y="109"/>
                  </a:lnTo>
                  <a:lnTo>
                    <a:pt x="20" y="107"/>
                  </a:lnTo>
                  <a:lnTo>
                    <a:pt x="8" y="89"/>
                  </a:lnTo>
                  <a:lnTo>
                    <a:pt x="0" y="68"/>
                  </a:lnTo>
                  <a:lnTo>
                    <a:pt x="13" y="37"/>
                  </a:lnTo>
                  <a:lnTo>
                    <a:pt x="30" y="17"/>
                  </a:lnTo>
                  <a:lnTo>
                    <a:pt x="48" y="7"/>
                  </a:lnTo>
                  <a:close/>
                </a:path>
              </a:pathLst>
            </a:custGeom>
            <a:solidFill>
              <a:srgbClr val="00CC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564;p19">
              <a:extLst>
                <a:ext uri="{FF2B5EF4-FFF2-40B4-BE49-F238E27FC236}">
                  <a16:creationId xmlns:a16="http://schemas.microsoft.com/office/drawing/2014/main" id="{F0445B26-14ED-419F-B349-17B3196D462D}"/>
                </a:ext>
              </a:extLst>
            </p:cNvPr>
            <p:cNvSpPr/>
            <p:nvPr/>
          </p:nvSpPr>
          <p:spPr>
            <a:xfrm>
              <a:off x="2662" y="835"/>
              <a:ext cx="86" cy="32"/>
            </a:xfrm>
            <a:custGeom>
              <a:avLst/>
              <a:gdLst/>
              <a:ahLst/>
              <a:cxnLst/>
              <a:rect l="l" t="t" r="r" b="b"/>
              <a:pathLst>
                <a:path w="302" h="122" extrusionOk="0">
                  <a:moveTo>
                    <a:pt x="48" y="7"/>
                  </a:moveTo>
                  <a:lnTo>
                    <a:pt x="82" y="3"/>
                  </a:lnTo>
                  <a:lnTo>
                    <a:pt x="142" y="11"/>
                  </a:lnTo>
                  <a:lnTo>
                    <a:pt x="200" y="6"/>
                  </a:lnTo>
                  <a:lnTo>
                    <a:pt x="244" y="0"/>
                  </a:lnTo>
                  <a:lnTo>
                    <a:pt x="276" y="18"/>
                  </a:lnTo>
                  <a:lnTo>
                    <a:pt x="299" y="41"/>
                  </a:lnTo>
                  <a:lnTo>
                    <a:pt x="302" y="55"/>
                  </a:lnTo>
                  <a:lnTo>
                    <a:pt x="298" y="84"/>
                  </a:lnTo>
                  <a:lnTo>
                    <a:pt x="293" y="91"/>
                  </a:lnTo>
                  <a:lnTo>
                    <a:pt x="271" y="116"/>
                  </a:lnTo>
                  <a:lnTo>
                    <a:pt x="233" y="122"/>
                  </a:lnTo>
                  <a:lnTo>
                    <a:pt x="201" y="109"/>
                  </a:lnTo>
                  <a:lnTo>
                    <a:pt x="180" y="113"/>
                  </a:lnTo>
                  <a:lnTo>
                    <a:pt x="142" y="120"/>
                  </a:lnTo>
                  <a:lnTo>
                    <a:pt x="130" y="121"/>
                  </a:lnTo>
                  <a:lnTo>
                    <a:pt x="91" y="102"/>
                  </a:lnTo>
                  <a:lnTo>
                    <a:pt x="55" y="98"/>
                  </a:lnTo>
                  <a:lnTo>
                    <a:pt x="32" y="109"/>
                  </a:lnTo>
                  <a:lnTo>
                    <a:pt x="20" y="107"/>
                  </a:lnTo>
                  <a:lnTo>
                    <a:pt x="8" y="89"/>
                  </a:lnTo>
                  <a:lnTo>
                    <a:pt x="0" y="68"/>
                  </a:lnTo>
                  <a:lnTo>
                    <a:pt x="13" y="37"/>
                  </a:lnTo>
                  <a:lnTo>
                    <a:pt x="30" y="17"/>
                  </a:lnTo>
                  <a:lnTo>
                    <a:pt x="48" y="7"/>
                  </a:lnTo>
                </a:path>
              </a:pathLst>
            </a:custGeom>
            <a:solidFill>
              <a:srgbClr val="B9D9E9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2" name="Google Shape;565;p19">
              <a:extLst>
                <a:ext uri="{FF2B5EF4-FFF2-40B4-BE49-F238E27FC236}">
                  <a16:creationId xmlns:a16="http://schemas.microsoft.com/office/drawing/2014/main" id="{4354B985-E7B3-47D4-9D84-B3AF1E436917}"/>
                </a:ext>
              </a:extLst>
            </p:cNvPr>
            <p:cNvSpPr/>
            <p:nvPr/>
          </p:nvSpPr>
          <p:spPr>
            <a:xfrm>
              <a:off x="2429" y="875"/>
              <a:ext cx="139" cy="107"/>
            </a:xfrm>
            <a:custGeom>
              <a:avLst/>
              <a:gdLst/>
              <a:ahLst/>
              <a:cxnLst/>
              <a:rect l="l" t="t" r="r" b="b"/>
              <a:pathLst>
                <a:path w="489" h="410" extrusionOk="0">
                  <a:moveTo>
                    <a:pt x="121" y="262"/>
                  </a:moveTo>
                  <a:lnTo>
                    <a:pt x="76" y="233"/>
                  </a:lnTo>
                  <a:lnTo>
                    <a:pt x="41" y="220"/>
                  </a:lnTo>
                  <a:lnTo>
                    <a:pt x="31" y="217"/>
                  </a:lnTo>
                  <a:lnTo>
                    <a:pt x="9" y="226"/>
                  </a:lnTo>
                  <a:lnTo>
                    <a:pt x="0" y="237"/>
                  </a:lnTo>
                  <a:lnTo>
                    <a:pt x="16" y="264"/>
                  </a:lnTo>
                  <a:lnTo>
                    <a:pt x="44" y="288"/>
                  </a:lnTo>
                  <a:lnTo>
                    <a:pt x="66" y="301"/>
                  </a:lnTo>
                  <a:lnTo>
                    <a:pt x="65" y="342"/>
                  </a:lnTo>
                  <a:lnTo>
                    <a:pt x="72" y="358"/>
                  </a:lnTo>
                  <a:lnTo>
                    <a:pt x="101" y="368"/>
                  </a:lnTo>
                  <a:lnTo>
                    <a:pt x="158" y="361"/>
                  </a:lnTo>
                  <a:lnTo>
                    <a:pt x="211" y="355"/>
                  </a:lnTo>
                  <a:lnTo>
                    <a:pt x="248" y="353"/>
                  </a:lnTo>
                  <a:lnTo>
                    <a:pt x="280" y="356"/>
                  </a:lnTo>
                  <a:lnTo>
                    <a:pt x="323" y="354"/>
                  </a:lnTo>
                  <a:lnTo>
                    <a:pt x="344" y="379"/>
                  </a:lnTo>
                  <a:lnTo>
                    <a:pt x="359" y="388"/>
                  </a:lnTo>
                  <a:lnTo>
                    <a:pt x="395" y="407"/>
                  </a:lnTo>
                  <a:lnTo>
                    <a:pt x="405" y="409"/>
                  </a:lnTo>
                  <a:lnTo>
                    <a:pt x="420" y="410"/>
                  </a:lnTo>
                  <a:lnTo>
                    <a:pt x="433" y="404"/>
                  </a:lnTo>
                  <a:lnTo>
                    <a:pt x="434" y="385"/>
                  </a:lnTo>
                  <a:lnTo>
                    <a:pt x="411" y="361"/>
                  </a:lnTo>
                  <a:lnTo>
                    <a:pt x="405" y="356"/>
                  </a:lnTo>
                  <a:lnTo>
                    <a:pt x="404" y="351"/>
                  </a:lnTo>
                  <a:lnTo>
                    <a:pt x="429" y="342"/>
                  </a:lnTo>
                  <a:lnTo>
                    <a:pt x="452" y="353"/>
                  </a:lnTo>
                  <a:lnTo>
                    <a:pt x="485" y="347"/>
                  </a:lnTo>
                  <a:lnTo>
                    <a:pt x="489" y="340"/>
                  </a:lnTo>
                  <a:lnTo>
                    <a:pt x="479" y="317"/>
                  </a:lnTo>
                  <a:lnTo>
                    <a:pt x="449" y="289"/>
                  </a:lnTo>
                  <a:lnTo>
                    <a:pt x="419" y="282"/>
                  </a:lnTo>
                  <a:lnTo>
                    <a:pt x="403" y="270"/>
                  </a:lnTo>
                  <a:lnTo>
                    <a:pt x="395" y="232"/>
                  </a:lnTo>
                  <a:lnTo>
                    <a:pt x="404" y="202"/>
                  </a:lnTo>
                  <a:lnTo>
                    <a:pt x="403" y="174"/>
                  </a:lnTo>
                  <a:lnTo>
                    <a:pt x="407" y="144"/>
                  </a:lnTo>
                  <a:lnTo>
                    <a:pt x="415" y="114"/>
                  </a:lnTo>
                  <a:lnTo>
                    <a:pt x="401" y="44"/>
                  </a:lnTo>
                  <a:lnTo>
                    <a:pt x="396" y="40"/>
                  </a:lnTo>
                  <a:lnTo>
                    <a:pt x="378" y="44"/>
                  </a:lnTo>
                  <a:lnTo>
                    <a:pt x="371" y="54"/>
                  </a:lnTo>
                  <a:lnTo>
                    <a:pt x="368" y="93"/>
                  </a:lnTo>
                  <a:lnTo>
                    <a:pt x="374" y="122"/>
                  </a:lnTo>
                  <a:lnTo>
                    <a:pt x="366" y="132"/>
                  </a:lnTo>
                  <a:lnTo>
                    <a:pt x="358" y="134"/>
                  </a:lnTo>
                  <a:lnTo>
                    <a:pt x="356" y="126"/>
                  </a:lnTo>
                  <a:lnTo>
                    <a:pt x="357" y="81"/>
                  </a:lnTo>
                  <a:lnTo>
                    <a:pt x="353" y="62"/>
                  </a:lnTo>
                  <a:lnTo>
                    <a:pt x="346" y="49"/>
                  </a:lnTo>
                  <a:lnTo>
                    <a:pt x="324" y="45"/>
                  </a:lnTo>
                  <a:lnTo>
                    <a:pt x="308" y="58"/>
                  </a:lnTo>
                  <a:lnTo>
                    <a:pt x="279" y="102"/>
                  </a:lnTo>
                  <a:lnTo>
                    <a:pt x="264" y="105"/>
                  </a:lnTo>
                  <a:lnTo>
                    <a:pt x="254" y="97"/>
                  </a:lnTo>
                  <a:lnTo>
                    <a:pt x="268" y="66"/>
                  </a:lnTo>
                  <a:lnTo>
                    <a:pt x="257" y="39"/>
                  </a:lnTo>
                  <a:lnTo>
                    <a:pt x="228" y="31"/>
                  </a:lnTo>
                  <a:lnTo>
                    <a:pt x="209" y="4"/>
                  </a:lnTo>
                  <a:lnTo>
                    <a:pt x="203" y="0"/>
                  </a:lnTo>
                  <a:lnTo>
                    <a:pt x="176" y="5"/>
                  </a:lnTo>
                  <a:lnTo>
                    <a:pt x="117" y="52"/>
                  </a:lnTo>
                  <a:lnTo>
                    <a:pt x="91" y="62"/>
                  </a:lnTo>
                  <a:lnTo>
                    <a:pt x="87" y="62"/>
                  </a:lnTo>
                  <a:lnTo>
                    <a:pt x="64" y="71"/>
                  </a:lnTo>
                  <a:lnTo>
                    <a:pt x="70" y="80"/>
                  </a:lnTo>
                  <a:lnTo>
                    <a:pt x="94" y="99"/>
                  </a:lnTo>
                  <a:lnTo>
                    <a:pt x="125" y="117"/>
                  </a:lnTo>
                  <a:lnTo>
                    <a:pt x="128" y="126"/>
                  </a:lnTo>
                  <a:lnTo>
                    <a:pt x="123" y="132"/>
                  </a:lnTo>
                  <a:lnTo>
                    <a:pt x="96" y="137"/>
                  </a:lnTo>
                  <a:lnTo>
                    <a:pt x="65" y="128"/>
                  </a:lnTo>
                  <a:lnTo>
                    <a:pt x="47" y="132"/>
                  </a:lnTo>
                  <a:lnTo>
                    <a:pt x="50" y="147"/>
                  </a:lnTo>
                  <a:lnTo>
                    <a:pt x="95" y="177"/>
                  </a:lnTo>
                  <a:lnTo>
                    <a:pt x="135" y="192"/>
                  </a:lnTo>
                  <a:lnTo>
                    <a:pt x="168" y="213"/>
                  </a:lnTo>
                  <a:lnTo>
                    <a:pt x="179" y="229"/>
                  </a:lnTo>
                  <a:lnTo>
                    <a:pt x="183" y="244"/>
                  </a:lnTo>
                  <a:lnTo>
                    <a:pt x="177" y="261"/>
                  </a:lnTo>
                  <a:lnTo>
                    <a:pt x="160" y="268"/>
                  </a:lnTo>
                  <a:lnTo>
                    <a:pt x="140" y="269"/>
                  </a:lnTo>
                  <a:lnTo>
                    <a:pt x="121" y="262"/>
                  </a:lnTo>
                  <a:close/>
                </a:path>
              </a:pathLst>
            </a:custGeom>
            <a:solidFill>
              <a:srgbClr val="00CC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3" name="Google Shape;566;p19">
              <a:extLst>
                <a:ext uri="{FF2B5EF4-FFF2-40B4-BE49-F238E27FC236}">
                  <a16:creationId xmlns:a16="http://schemas.microsoft.com/office/drawing/2014/main" id="{2D3E51DC-703D-40AC-B59D-0E5765D46B7E}"/>
                </a:ext>
              </a:extLst>
            </p:cNvPr>
            <p:cNvSpPr/>
            <p:nvPr/>
          </p:nvSpPr>
          <p:spPr>
            <a:xfrm>
              <a:off x="2429" y="875"/>
              <a:ext cx="139" cy="107"/>
            </a:xfrm>
            <a:custGeom>
              <a:avLst/>
              <a:gdLst/>
              <a:ahLst/>
              <a:cxnLst/>
              <a:rect l="l" t="t" r="r" b="b"/>
              <a:pathLst>
                <a:path w="489" h="410" extrusionOk="0">
                  <a:moveTo>
                    <a:pt x="121" y="262"/>
                  </a:moveTo>
                  <a:lnTo>
                    <a:pt x="76" y="233"/>
                  </a:lnTo>
                  <a:lnTo>
                    <a:pt x="41" y="220"/>
                  </a:lnTo>
                  <a:lnTo>
                    <a:pt x="31" y="217"/>
                  </a:lnTo>
                  <a:lnTo>
                    <a:pt x="9" y="226"/>
                  </a:lnTo>
                  <a:lnTo>
                    <a:pt x="0" y="237"/>
                  </a:lnTo>
                  <a:lnTo>
                    <a:pt x="16" y="264"/>
                  </a:lnTo>
                  <a:lnTo>
                    <a:pt x="44" y="288"/>
                  </a:lnTo>
                  <a:lnTo>
                    <a:pt x="66" y="301"/>
                  </a:lnTo>
                  <a:lnTo>
                    <a:pt x="65" y="342"/>
                  </a:lnTo>
                  <a:lnTo>
                    <a:pt x="72" y="358"/>
                  </a:lnTo>
                  <a:lnTo>
                    <a:pt x="101" y="368"/>
                  </a:lnTo>
                  <a:lnTo>
                    <a:pt x="158" y="361"/>
                  </a:lnTo>
                  <a:lnTo>
                    <a:pt x="211" y="355"/>
                  </a:lnTo>
                  <a:lnTo>
                    <a:pt x="248" y="353"/>
                  </a:lnTo>
                  <a:lnTo>
                    <a:pt x="280" y="356"/>
                  </a:lnTo>
                  <a:lnTo>
                    <a:pt x="323" y="354"/>
                  </a:lnTo>
                  <a:lnTo>
                    <a:pt x="344" y="379"/>
                  </a:lnTo>
                  <a:lnTo>
                    <a:pt x="359" y="388"/>
                  </a:lnTo>
                  <a:lnTo>
                    <a:pt x="395" y="407"/>
                  </a:lnTo>
                  <a:lnTo>
                    <a:pt x="405" y="409"/>
                  </a:lnTo>
                  <a:lnTo>
                    <a:pt x="420" y="410"/>
                  </a:lnTo>
                  <a:lnTo>
                    <a:pt x="433" y="404"/>
                  </a:lnTo>
                  <a:lnTo>
                    <a:pt x="434" y="385"/>
                  </a:lnTo>
                  <a:lnTo>
                    <a:pt x="411" y="361"/>
                  </a:lnTo>
                  <a:lnTo>
                    <a:pt x="405" y="356"/>
                  </a:lnTo>
                  <a:lnTo>
                    <a:pt x="404" y="351"/>
                  </a:lnTo>
                  <a:lnTo>
                    <a:pt x="429" y="342"/>
                  </a:lnTo>
                  <a:lnTo>
                    <a:pt x="452" y="353"/>
                  </a:lnTo>
                  <a:lnTo>
                    <a:pt x="485" y="347"/>
                  </a:lnTo>
                  <a:lnTo>
                    <a:pt x="489" y="340"/>
                  </a:lnTo>
                  <a:lnTo>
                    <a:pt x="479" y="317"/>
                  </a:lnTo>
                  <a:lnTo>
                    <a:pt x="449" y="289"/>
                  </a:lnTo>
                  <a:lnTo>
                    <a:pt x="419" y="282"/>
                  </a:lnTo>
                  <a:lnTo>
                    <a:pt x="403" y="270"/>
                  </a:lnTo>
                  <a:lnTo>
                    <a:pt x="395" y="232"/>
                  </a:lnTo>
                  <a:lnTo>
                    <a:pt x="404" y="202"/>
                  </a:lnTo>
                  <a:lnTo>
                    <a:pt x="403" y="174"/>
                  </a:lnTo>
                  <a:lnTo>
                    <a:pt x="407" y="144"/>
                  </a:lnTo>
                  <a:lnTo>
                    <a:pt x="415" y="114"/>
                  </a:lnTo>
                  <a:lnTo>
                    <a:pt x="401" y="44"/>
                  </a:lnTo>
                  <a:lnTo>
                    <a:pt x="396" y="40"/>
                  </a:lnTo>
                  <a:lnTo>
                    <a:pt x="378" y="44"/>
                  </a:lnTo>
                  <a:lnTo>
                    <a:pt x="371" y="54"/>
                  </a:lnTo>
                  <a:lnTo>
                    <a:pt x="368" y="93"/>
                  </a:lnTo>
                  <a:lnTo>
                    <a:pt x="374" y="122"/>
                  </a:lnTo>
                  <a:lnTo>
                    <a:pt x="366" y="132"/>
                  </a:lnTo>
                  <a:lnTo>
                    <a:pt x="358" y="134"/>
                  </a:lnTo>
                  <a:lnTo>
                    <a:pt x="356" y="126"/>
                  </a:lnTo>
                  <a:lnTo>
                    <a:pt x="357" y="81"/>
                  </a:lnTo>
                  <a:lnTo>
                    <a:pt x="353" y="62"/>
                  </a:lnTo>
                  <a:lnTo>
                    <a:pt x="346" y="49"/>
                  </a:lnTo>
                  <a:lnTo>
                    <a:pt x="324" y="45"/>
                  </a:lnTo>
                  <a:lnTo>
                    <a:pt x="308" y="58"/>
                  </a:lnTo>
                  <a:lnTo>
                    <a:pt x="279" y="102"/>
                  </a:lnTo>
                  <a:lnTo>
                    <a:pt x="264" y="105"/>
                  </a:lnTo>
                  <a:lnTo>
                    <a:pt x="254" y="97"/>
                  </a:lnTo>
                  <a:lnTo>
                    <a:pt x="268" y="66"/>
                  </a:lnTo>
                  <a:lnTo>
                    <a:pt x="257" y="39"/>
                  </a:lnTo>
                  <a:lnTo>
                    <a:pt x="228" y="31"/>
                  </a:lnTo>
                  <a:lnTo>
                    <a:pt x="209" y="4"/>
                  </a:lnTo>
                  <a:lnTo>
                    <a:pt x="203" y="0"/>
                  </a:lnTo>
                  <a:lnTo>
                    <a:pt x="176" y="5"/>
                  </a:lnTo>
                  <a:lnTo>
                    <a:pt x="117" y="52"/>
                  </a:lnTo>
                  <a:lnTo>
                    <a:pt x="91" y="62"/>
                  </a:lnTo>
                  <a:lnTo>
                    <a:pt x="87" y="62"/>
                  </a:lnTo>
                  <a:lnTo>
                    <a:pt x="64" y="71"/>
                  </a:lnTo>
                  <a:lnTo>
                    <a:pt x="70" y="80"/>
                  </a:lnTo>
                  <a:lnTo>
                    <a:pt x="94" y="99"/>
                  </a:lnTo>
                  <a:lnTo>
                    <a:pt x="125" y="117"/>
                  </a:lnTo>
                  <a:lnTo>
                    <a:pt x="128" y="126"/>
                  </a:lnTo>
                  <a:lnTo>
                    <a:pt x="123" y="132"/>
                  </a:lnTo>
                  <a:lnTo>
                    <a:pt x="96" y="137"/>
                  </a:lnTo>
                  <a:lnTo>
                    <a:pt x="65" y="128"/>
                  </a:lnTo>
                  <a:lnTo>
                    <a:pt x="47" y="132"/>
                  </a:lnTo>
                  <a:lnTo>
                    <a:pt x="50" y="147"/>
                  </a:lnTo>
                  <a:lnTo>
                    <a:pt x="95" y="177"/>
                  </a:lnTo>
                  <a:lnTo>
                    <a:pt x="135" y="192"/>
                  </a:lnTo>
                  <a:lnTo>
                    <a:pt x="168" y="213"/>
                  </a:lnTo>
                  <a:lnTo>
                    <a:pt x="179" y="229"/>
                  </a:lnTo>
                  <a:lnTo>
                    <a:pt x="183" y="244"/>
                  </a:lnTo>
                  <a:lnTo>
                    <a:pt x="177" y="261"/>
                  </a:lnTo>
                  <a:lnTo>
                    <a:pt x="160" y="268"/>
                  </a:lnTo>
                  <a:lnTo>
                    <a:pt x="140" y="269"/>
                  </a:lnTo>
                  <a:lnTo>
                    <a:pt x="121" y="262"/>
                  </a:lnTo>
                </a:path>
              </a:pathLst>
            </a:custGeom>
            <a:solidFill>
              <a:srgbClr val="B9D9E9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4" name="Google Shape;567;p19">
              <a:extLst>
                <a:ext uri="{FF2B5EF4-FFF2-40B4-BE49-F238E27FC236}">
                  <a16:creationId xmlns:a16="http://schemas.microsoft.com/office/drawing/2014/main" id="{60863353-032F-4D22-9A35-9E309EA1C7FA}"/>
                </a:ext>
              </a:extLst>
            </p:cNvPr>
            <p:cNvSpPr/>
            <p:nvPr/>
          </p:nvSpPr>
          <p:spPr>
            <a:xfrm>
              <a:off x="2692" y="688"/>
              <a:ext cx="107" cy="135"/>
            </a:xfrm>
            <a:custGeom>
              <a:avLst/>
              <a:gdLst/>
              <a:ahLst/>
              <a:cxnLst/>
              <a:rect l="l" t="t" r="r" b="b"/>
              <a:pathLst>
                <a:path w="375" h="517" extrusionOk="0">
                  <a:moveTo>
                    <a:pt x="203" y="18"/>
                  </a:moveTo>
                  <a:lnTo>
                    <a:pt x="185" y="37"/>
                  </a:lnTo>
                  <a:lnTo>
                    <a:pt x="159" y="53"/>
                  </a:lnTo>
                  <a:lnTo>
                    <a:pt x="135" y="81"/>
                  </a:lnTo>
                  <a:lnTo>
                    <a:pt x="115" y="95"/>
                  </a:lnTo>
                  <a:lnTo>
                    <a:pt x="90" y="90"/>
                  </a:lnTo>
                  <a:lnTo>
                    <a:pt x="73" y="74"/>
                  </a:lnTo>
                  <a:lnTo>
                    <a:pt x="44" y="67"/>
                  </a:lnTo>
                  <a:lnTo>
                    <a:pt x="15" y="76"/>
                  </a:lnTo>
                  <a:lnTo>
                    <a:pt x="0" y="99"/>
                  </a:lnTo>
                  <a:lnTo>
                    <a:pt x="1" y="126"/>
                  </a:lnTo>
                  <a:lnTo>
                    <a:pt x="12" y="142"/>
                  </a:lnTo>
                  <a:lnTo>
                    <a:pt x="25" y="155"/>
                  </a:lnTo>
                  <a:lnTo>
                    <a:pt x="56" y="154"/>
                  </a:lnTo>
                  <a:lnTo>
                    <a:pt x="83" y="149"/>
                  </a:lnTo>
                  <a:lnTo>
                    <a:pt x="127" y="135"/>
                  </a:lnTo>
                  <a:lnTo>
                    <a:pt x="142" y="142"/>
                  </a:lnTo>
                  <a:lnTo>
                    <a:pt x="149" y="152"/>
                  </a:lnTo>
                  <a:lnTo>
                    <a:pt x="179" y="160"/>
                  </a:lnTo>
                  <a:lnTo>
                    <a:pt x="204" y="137"/>
                  </a:lnTo>
                  <a:lnTo>
                    <a:pt x="217" y="133"/>
                  </a:lnTo>
                  <a:lnTo>
                    <a:pt x="226" y="137"/>
                  </a:lnTo>
                  <a:lnTo>
                    <a:pt x="235" y="149"/>
                  </a:lnTo>
                  <a:lnTo>
                    <a:pt x="236" y="158"/>
                  </a:lnTo>
                  <a:lnTo>
                    <a:pt x="233" y="171"/>
                  </a:lnTo>
                  <a:lnTo>
                    <a:pt x="226" y="184"/>
                  </a:lnTo>
                  <a:lnTo>
                    <a:pt x="208" y="206"/>
                  </a:lnTo>
                  <a:lnTo>
                    <a:pt x="185" y="211"/>
                  </a:lnTo>
                  <a:lnTo>
                    <a:pt x="155" y="207"/>
                  </a:lnTo>
                  <a:lnTo>
                    <a:pt x="133" y="231"/>
                  </a:lnTo>
                  <a:lnTo>
                    <a:pt x="143" y="287"/>
                  </a:lnTo>
                  <a:lnTo>
                    <a:pt x="128" y="289"/>
                  </a:lnTo>
                  <a:lnTo>
                    <a:pt x="107" y="275"/>
                  </a:lnTo>
                  <a:lnTo>
                    <a:pt x="97" y="249"/>
                  </a:lnTo>
                  <a:lnTo>
                    <a:pt x="78" y="227"/>
                  </a:lnTo>
                  <a:lnTo>
                    <a:pt x="69" y="228"/>
                  </a:lnTo>
                  <a:lnTo>
                    <a:pt x="59" y="245"/>
                  </a:lnTo>
                  <a:lnTo>
                    <a:pt x="61" y="312"/>
                  </a:lnTo>
                  <a:lnTo>
                    <a:pt x="85" y="337"/>
                  </a:lnTo>
                  <a:lnTo>
                    <a:pt x="96" y="363"/>
                  </a:lnTo>
                  <a:lnTo>
                    <a:pt x="77" y="367"/>
                  </a:lnTo>
                  <a:lnTo>
                    <a:pt x="46" y="366"/>
                  </a:lnTo>
                  <a:lnTo>
                    <a:pt x="24" y="377"/>
                  </a:lnTo>
                  <a:lnTo>
                    <a:pt x="16" y="399"/>
                  </a:lnTo>
                  <a:lnTo>
                    <a:pt x="17" y="427"/>
                  </a:lnTo>
                  <a:lnTo>
                    <a:pt x="29" y="437"/>
                  </a:lnTo>
                  <a:lnTo>
                    <a:pt x="39" y="444"/>
                  </a:lnTo>
                  <a:lnTo>
                    <a:pt x="63" y="444"/>
                  </a:lnTo>
                  <a:lnTo>
                    <a:pt x="82" y="435"/>
                  </a:lnTo>
                  <a:lnTo>
                    <a:pt x="76" y="472"/>
                  </a:lnTo>
                  <a:lnTo>
                    <a:pt x="91" y="495"/>
                  </a:lnTo>
                  <a:lnTo>
                    <a:pt x="122" y="499"/>
                  </a:lnTo>
                  <a:lnTo>
                    <a:pt x="158" y="516"/>
                  </a:lnTo>
                  <a:lnTo>
                    <a:pt x="177" y="517"/>
                  </a:lnTo>
                  <a:lnTo>
                    <a:pt x="189" y="506"/>
                  </a:lnTo>
                  <a:lnTo>
                    <a:pt x="189" y="479"/>
                  </a:lnTo>
                  <a:lnTo>
                    <a:pt x="184" y="477"/>
                  </a:lnTo>
                  <a:lnTo>
                    <a:pt x="156" y="454"/>
                  </a:lnTo>
                  <a:lnTo>
                    <a:pt x="163" y="442"/>
                  </a:lnTo>
                  <a:lnTo>
                    <a:pt x="213" y="428"/>
                  </a:lnTo>
                  <a:lnTo>
                    <a:pt x="224" y="415"/>
                  </a:lnTo>
                  <a:lnTo>
                    <a:pt x="241" y="378"/>
                  </a:lnTo>
                  <a:lnTo>
                    <a:pt x="244" y="368"/>
                  </a:lnTo>
                  <a:lnTo>
                    <a:pt x="244" y="351"/>
                  </a:lnTo>
                  <a:lnTo>
                    <a:pt x="231" y="319"/>
                  </a:lnTo>
                  <a:lnTo>
                    <a:pt x="208" y="308"/>
                  </a:lnTo>
                  <a:lnTo>
                    <a:pt x="221" y="289"/>
                  </a:lnTo>
                  <a:lnTo>
                    <a:pt x="270" y="267"/>
                  </a:lnTo>
                  <a:lnTo>
                    <a:pt x="275" y="260"/>
                  </a:lnTo>
                  <a:lnTo>
                    <a:pt x="280" y="243"/>
                  </a:lnTo>
                  <a:lnTo>
                    <a:pt x="298" y="235"/>
                  </a:lnTo>
                  <a:lnTo>
                    <a:pt x="309" y="219"/>
                  </a:lnTo>
                  <a:lnTo>
                    <a:pt x="305" y="187"/>
                  </a:lnTo>
                  <a:lnTo>
                    <a:pt x="312" y="162"/>
                  </a:lnTo>
                  <a:lnTo>
                    <a:pt x="341" y="133"/>
                  </a:lnTo>
                  <a:lnTo>
                    <a:pt x="344" y="127"/>
                  </a:lnTo>
                  <a:lnTo>
                    <a:pt x="353" y="97"/>
                  </a:lnTo>
                  <a:lnTo>
                    <a:pt x="351" y="93"/>
                  </a:lnTo>
                  <a:lnTo>
                    <a:pt x="346" y="88"/>
                  </a:lnTo>
                  <a:lnTo>
                    <a:pt x="318" y="88"/>
                  </a:lnTo>
                  <a:lnTo>
                    <a:pt x="313" y="84"/>
                  </a:lnTo>
                  <a:lnTo>
                    <a:pt x="311" y="75"/>
                  </a:lnTo>
                  <a:lnTo>
                    <a:pt x="314" y="69"/>
                  </a:lnTo>
                  <a:lnTo>
                    <a:pt x="364" y="56"/>
                  </a:lnTo>
                  <a:lnTo>
                    <a:pt x="375" y="35"/>
                  </a:lnTo>
                  <a:lnTo>
                    <a:pt x="351" y="15"/>
                  </a:lnTo>
                  <a:lnTo>
                    <a:pt x="317" y="7"/>
                  </a:lnTo>
                  <a:lnTo>
                    <a:pt x="258" y="23"/>
                  </a:lnTo>
                  <a:lnTo>
                    <a:pt x="238" y="27"/>
                  </a:lnTo>
                  <a:lnTo>
                    <a:pt x="225" y="0"/>
                  </a:lnTo>
                  <a:lnTo>
                    <a:pt x="203" y="18"/>
                  </a:lnTo>
                  <a:close/>
                </a:path>
              </a:pathLst>
            </a:custGeom>
            <a:solidFill>
              <a:srgbClr val="00CC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5" name="Google Shape;568;p19">
              <a:extLst>
                <a:ext uri="{FF2B5EF4-FFF2-40B4-BE49-F238E27FC236}">
                  <a16:creationId xmlns:a16="http://schemas.microsoft.com/office/drawing/2014/main" id="{ACC39D99-4ED1-4466-B3CC-1B55271A0A82}"/>
                </a:ext>
              </a:extLst>
            </p:cNvPr>
            <p:cNvSpPr/>
            <p:nvPr/>
          </p:nvSpPr>
          <p:spPr>
            <a:xfrm>
              <a:off x="2692" y="688"/>
              <a:ext cx="107" cy="135"/>
            </a:xfrm>
            <a:custGeom>
              <a:avLst/>
              <a:gdLst/>
              <a:ahLst/>
              <a:cxnLst/>
              <a:rect l="l" t="t" r="r" b="b"/>
              <a:pathLst>
                <a:path w="375" h="517" extrusionOk="0">
                  <a:moveTo>
                    <a:pt x="203" y="18"/>
                  </a:moveTo>
                  <a:lnTo>
                    <a:pt x="185" y="37"/>
                  </a:lnTo>
                  <a:lnTo>
                    <a:pt x="159" y="53"/>
                  </a:lnTo>
                  <a:lnTo>
                    <a:pt x="135" y="81"/>
                  </a:lnTo>
                  <a:lnTo>
                    <a:pt x="115" y="95"/>
                  </a:lnTo>
                  <a:lnTo>
                    <a:pt x="90" y="90"/>
                  </a:lnTo>
                  <a:lnTo>
                    <a:pt x="73" y="74"/>
                  </a:lnTo>
                  <a:lnTo>
                    <a:pt x="44" y="67"/>
                  </a:lnTo>
                  <a:lnTo>
                    <a:pt x="15" y="76"/>
                  </a:lnTo>
                  <a:lnTo>
                    <a:pt x="0" y="99"/>
                  </a:lnTo>
                  <a:lnTo>
                    <a:pt x="1" y="126"/>
                  </a:lnTo>
                  <a:lnTo>
                    <a:pt x="12" y="142"/>
                  </a:lnTo>
                  <a:lnTo>
                    <a:pt x="25" y="155"/>
                  </a:lnTo>
                  <a:lnTo>
                    <a:pt x="56" y="154"/>
                  </a:lnTo>
                  <a:lnTo>
                    <a:pt x="83" y="149"/>
                  </a:lnTo>
                  <a:lnTo>
                    <a:pt x="127" y="135"/>
                  </a:lnTo>
                  <a:lnTo>
                    <a:pt x="142" y="142"/>
                  </a:lnTo>
                  <a:lnTo>
                    <a:pt x="149" y="152"/>
                  </a:lnTo>
                  <a:lnTo>
                    <a:pt x="179" y="160"/>
                  </a:lnTo>
                  <a:lnTo>
                    <a:pt x="204" y="137"/>
                  </a:lnTo>
                  <a:lnTo>
                    <a:pt x="217" y="133"/>
                  </a:lnTo>
                  <a:lnTo>
                    <a:pt x="226" y="137"/>
                  </a:lnTo>
                  <a:lnTo>
                    <a:pt x="235" y="149"/>
                  </a:lnTo>
                  <a:lnTo>
                    <a:pt x="236" y="158"/>
                  </a:lnTo>
                  <a:lnTo>
                    <a:pt x="233" y="171"/>
                  </a:lnTo>
                  <a:lnTo>
                    <a:pt x="226" y="184"/>
                  </a:lnTo>
                  <a:lnTo>
                    <a:pt x="208" y="206"/>
                  </a:lnTo>
                  <a:lnTo>
                    <a:pt x="185" y="211"/>
                  </a:lnTo>
                  <a:lnTo>
                    <a:pt x="155" y="207"/>
                  </a:lnTo>
                  <a:lnTo>
                    <a:pt x="133" y="231"/>
                  </a:lnTo>
                  <a:lnTo>
                    <a:pt x="143" y="287"/>
                  </a:lnTo>
                  <a:lnTo>
                    <a:pt x="128" y="289"/>
                  </a:lnTo>
                  <a:lnTo>
                    <a:pt x="107" y="275"/>
                  </a:lnTo>
                  <a:lnTo>
                    <a:pt x="97" y="249"/>
                  </a:lnTo>
                  <a:lnTo>
                    <a:pt x="78" y="227"/>
                  </a:lnTo>
                  <a:lnTo>
                    <a:pt x="69" y="228"/>
                  </a:lnTo>
                  <a:lnTo>
                    <a:pt x="59" y="245"/>
                  </a:lnTo>
                  <a:lnTo>
                    <a:pt x="61" y="312"/>
                  </a:lnTo>
                  <a:lnTo>
                    <a:pt x="85" y="337"/>
                  </a:lnTo>
                  <a:lnTo>
                    <a:pt x="96" y="363"/>
                  </a:lnTo>
                  <a:lnTo>
                    <a:pt x="77" y="367"/>
                  </a:lnTo>
                  <a:lnTo>
                    <a:pt x="46" y="366"/>
                  </a:lnTo>
                  <a:lnTo>
                    <a:pt x="24" y="377"/>
                  </a:lnTo>
                  <a:lnTo>
                    <a:pt x="16" y="399"/>
                  </a:lnTo>
                  <a:lnTo>
                    <a:pt x="17" y="427"/>
                  </a:lnTo>
                  <a:lnTo>
                    <a:pt x="29" y="437"/>
                  </a:lnTo>
                  <a:lnTo>
                    <a:pt x="39" y="444"/>
                  </a:lnTo>
                  <a:lnTo>
                    <a:pt x="63" y="444"/>
                  </a:lnTo>
                  <a:lnTo>
                    <a:pt x="82" y="435"/>
                  </a:lnTo>
                  <a:lnTo>
                    <a:pt x="76" y="472"/>
                  </a:lnTo>
                  <a:lnTo>
                    <a:pt x="91" y="495"/>
                  </a:lnTo>
                  <a:lnTo>
                    <a:pt x="122" y="499"/>
                  </a:lnTo>
                  <a:lnTo>
                    <a:pt x="158" y="516"/>
                  </a:lnTo>
                  <a:lnTo>
                    <a:pt x="177" y="517"/>
                  </a:lnTo>
                  <a:lnTo>
                    <a:pt x="189" y="506"/>
                  </a:lnTo>
                  <a:lnTo>
                    <a:pt x="189" y="479"/>
                  </a:lnTo>
                  <a:lnTo>
                    <a:pt x="184" y="477"/>
                  </a:lnTo>
                  <a:lnTo>
                    <a:pt x="156" y="454"/>
                  </a:lnTo>
                  <a:lnTo>
                    <a:pt x="163" y="442"/>
                  </a:lnTo>
                  <a:lnTo>
                    <a:pt x="213" y="428"/>
                  </a:lnTo>
                  <a:lnTo>
                    <a:pt x="224" y="415"/>
                  </a:lnTo>
                  <a:lnTo>
                    <a:pt x="241" y="378"/>
                  </a:lnTo>
                  <a:lnTo>
                    <a:pt x="244" y="368"/>
                  </a:lnTo>
                  <a:lnTo>
                    <a:pt x="244" y="351"/>
                  </a:lnTo>
                  <a:lnTo>
                    <a:pt x="231" y="319"/>
                  </a:lnTo>
                  <a:lnTo>
                    <a:pt x="208" y="308"/>
                  </a:lnTo>
                  <a:lnTo>
                    <a:pt x="221" y="289"/>
                  </a:lnTo>
                  <a:lnTo>
                    <a:pt x="270" y="267"/>
                  </a:lnTo>
                  <a:lnTo>
                    <a:pt x="275" y="260"/>
                  </a:lnTo>
                  <a:lnTo>
                    <a:pt x="280" y="243"/>
                  </a:lnTo>
                  <a:lnTo>
                    <a:pt x="298" y="235"/>
                  </a:lnTo>
                  <a:lnTo>
                    <a:pt x="309" y="219"/>
                  </a:lnTo>
                  <a:lnTo>
                    <a:pt x="305" y="187"/>
                  </a:lnTo>
                  <a:lnTo>
                    <a:pt x="312" y="162"/>
                  </a:lnTo>
                  <a:lnTo>
                    <a:pt x="341" y="133"/>
                  </a:lnTo>
                  <a:lnTo>
                    <a:pt x="344" y="127"/>
                  </a:lnTo>
                  <a:lnTo>
                    <a:pt x="353" y="97"/>
                  </a:lnTo>
                  <a:lnTo>
                    <a:pt x="351" y="93"/>
                  </a:lnTo>
                  <a:lnTo>
                    <a:pt x="346" y="88"/>
                  </a:lnTo>
                  <a:lnTo>
                    <a:pt x="318" y="88"/>
                  </a:lnTo>
                  <a:lnTo>
                    <a:pt x="313" y="84"/>
                  </a:lnTo>
                  <a:lnTo>
                    <a:pt x="311" y="75"/>
                  </a:lnTo>
                  <a:lnTo>
                    <a:pt x="314" y="69"/>
                  </a:lnTo>
                  <a:lnTo>
                    <a:pt x="364" y="56"/>
                  </a:lnTo>
                  <a:lnTo>
                    <a:pt x="375" y="35"/>
                  </a:lnTo>
                  <a:lnTo>
                    <a:pt x="351" y="15"/>
                  </a:lnTo>
                  <a:lnTo>
                    <a:pt x="317" y="7"/>
                  </a:lnTo>
                  <a:lnTo>
                    <a:pt x="258" y="23"/>
                  </a:lnTo>
                  <a:lnTo>
                    <a:pt x="238" y="27"/>
                  </a:lnTo>
                  <a:lnTo>
                    <a:pt x="225" y="0"/>
                  </a:lnTo>
                  <a:lnTo>
                    <a:pt x="203" y="18"/>
                  </a:lnTo>
                </a:path>
              </a:pathLst>
            </a:custGeom>
            <a:solidFill>
              <a:srgbClr val="B9D9E9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6" name="Google Shape;569;p19">
              <a:extLst>
                <a:ext uri="{FF2B5EF4-FFF2-40B4-BE49-F238E27FC236}">
                  <a16:creationId xmlns:a16="http://schemas.microsoft.com/office/drawing/2014/main" id="{656F7097-51E2-4DCE-A4C9-E8AC76C01038}"/>
                </a:ext>
              </a:extLst>
            </p:cNvPr>
            <p:cNvSpPr/>
            <p:nvPr/>
          </p:nvSpPr>
          <p:spPr>
            <a:xfrm>
              <a:off x="2672" y="880"/>
              <a:ext cx="282" cy="221"/>
            </a:xfrm>
            <a:custGeom>
              <a:avLst/>
              <a:gdLst/>
              <a:ahLst/>
              <a:cxnLst/>
              <a:rect l="l" t="t" r="r" b="b"/>
              <a:pathLst>
                <a:path w="984" h="845" extrusionOk="0">
                  <a:moveTo>
                    <a:pt x="865" y="838"/>
                  </a:moveTo>
                  <a:lnTo>
                    <a:pt x="841" y="830"/>
                  </a:lnTo>
                  <a:lnTo>
                    <a:pt x="812" y="830"/>
                  </a:lnTo>
                  <a:lnTo>
                    <a:pt x="782" y="802"/>
                  </a:lnTo>
                  <a:lnTo>
                    <a:pt x="777" y="794"/>
                  </a:lnTo>
                  <a:lnTo>
                    <a:pt x="762" y="793"/>
                  </a:lnTo>
                  <a:lnTo>
                    <a:pt x="714" y="787"/>
                  </a:lnTo>
                  <a:lnTo>
                    <a:pt x="708" y="784"/>
                  </a:lnTo>
                  <a:lnTo>
                    <a:pt x="692" y="757"/>
                  </a:lnTo>
                  <a:lnTo>
                    <a:pt x="680" y="721"/>
                  </a:lnTo>
                  <a:lnTo>
                    <a:pt x="640" y="705"/>
                  </a:lnTo>
                  <a:lnTo>
                    <a:pt x="611" y="695"/>
                  </a:lnTo>
                  <a:lnTo>
                    <a:pt x="567" y="671"/>
                  </a:lnTo>
                  <a:lnTo>
                    <a:pt x="561" y="638"/>
                  </a:lnTo>
                  <a:lnTo>
                    <a:pt x="563" y="628"/>
                  </a:lnTo>
                  <a:lnTo>
                    <a:pt x="557" y="601"/>
                  </a:lnTo>
                  <a:lnTo>
                    <a:pt x="575" y="568"/>
                  </a:lnTo>
                  <a:lnTo>
                    <a:pt x="603" y="542"/>
                  </a:lnTo>
                  <a:lnTo>
                    <a:pt x="622" y="515"/>
                  </a:lnTo>
                  <a:lnTo>
                    <a:pt x="605" y="432"/>
                  </a:lnTo>
                  <a:lnTo>
                    <a:pt x="583" y="383"/>
                  </a:lnTo>
                  <a:lnTo>
                    <a:pt x="549" y="365"/>
                  </a:lnTo>
                  <a:lnTo>
                    <a:pt x="515" y="358"/>
                  </a:lnTo>
                  <a:lnTo>
                    <a:pt x="482" y="364"/>
                  </a:lnTo>
                  <a:lnTo>
                    <a:pt x="466" y="353"/>
                  </a:lnTo>
                  <a:lnTo>
                    <a:pt x="471" y="323"/>
                  </a:lnTo>
                  <a:lnTo>
                    <a:pt x="456" y="301"/>
                  </a:lnTo>
                  <a:lnTo>
                    <a:pt x="451" y="298"/>
                  </a:lnTo>
                  <a:lnTo>
                    <a:pt x="415" y="309"/>
                  </a:lnTo>
                  <a:lnTo>
                    <a:pt x="409" y="310"/>
                  </a:lnTo>
                  <a:lnTo>
                    <a:pt x="387" y="291"/>
                  </a:lnTo>
                  <a:lnTo>
                    <a:pt x="380" y="263"/>
                  </a:lnTo>
                  <a:lnTo>
                    <a:pt x="361" y="254"/>
                  </a:lnTo>
                  <a:lnTo>
                    <a:pt x="332" y="270"/>
                  </a:lnTo>
                  <a:lnTo>
                    <a:pt x="318" y="290"/>
                  </a:lnTo>
                  <a:lnTo>
                    <a:pt x="265" y="295"/>
                  </a:lnTo>
                  <a:lnTo>
                    <a:pt x="230" y="292"/>
                  </a:lnTo>
                  <a:lnTo>
                    <a:pt x="200" y="279"/>
                  </a:lnTo>
                  <a:lnTo>
                    <a:pt x="158" y="283"/>
                  </a:lnTo>
                  <a:lnTo>
                    <a:pt x="127" y="275"/>
                  </a:lnTo>
                  <a:lnTo>
                    <a:pt x="48" y="212"/>
                  </a:lnTo>
                  <a:lnTo>
                    <a:pt x="18" y="183"/>
                  </a:lnTo>
                  <a:lnTo>
                    <a:pt x="0" y="160"/>
                  </a:lnTo>
                  <a:lnTo>
                    <a:pt x="0" y="131"/>
                  </a:lnTo>
                  <a:lnTo>
                    <a:pt x="34" y="89"/>
                  </a:lnTo>
                  <a:lnTo>
                    <a:pt x="58" y="42"/>
                  </a:lnTo>
                  <a:lnTo>
                    <a:pt x="97" y="2"/>
                  </a:lnTo>
                  <a:lnTo>
                    <a:pt x="126" y="0"/>
                  </a:lnTo>
                  <a:lnTo>
                    <a:pt x="134" y="18"/>
                  </a:lnTo>
                  <a:lnTo>
                    <a:pt x="132" y="33"/>
                  </a:lnTo>
                  <a:lnTo>
                    <a:pt x="115" y="62"/>
                  </a:lnTo>
                  <a:lnTo>
                    <a:pt x="90" y="84"/>
                  </a:lnTo>
                  <a:lnTo>
                    <a:pt x="91" y="93"/>
                  </a:lnTo>
                  <a:lnTo>
                    <a:pt x="106" y="120"/>
                  </a:lnTo>
                  <a:lnTo>
                    <a:pt x="103" y="150"/>
                  </a:lnTo>
                  <a:lnTo>
                    <a:pt x="105" y="211"/>
                  </a:lnTo>
                  <a:lnTo>
                    <a:pt x="130" y="242"/>
                  </a:lnTo>
                  <a:lnTo>
                    <a:pt x="146" y="218"/>
                  </a:lnTo>
                  <a:lnTo>
                    <a:pt x="156" y="176"/>
                  </a:lnTo>
                  <a:lnTo>
                    <a:pt x="150" y="145"/>
                  </a:lnTo>
                  <a:lnTo>
                    <a:pt x="147" y="107"/>
                  </a:lnTo>
                  <a:lnTo>
                    <a:pt x="146" y="79"/>
                  </a:lnTo>
                  <a:lnTo>
                    <a:pt x="159" y="47"/>
                  </a:lnTo>
                  <a:lnTo>
                    <a:pt x="165" y="36"/>
                  </a:lnTo>
                  <a:lnTo>
                    <a:pt x="233" y="13"/>
                  </a:lnTo>
                  <a:lnTo>
                    <a:pt x="239" y="17"/>
                  </a:lnTo>
                  <a:lnTo>
                    <a:pt x="254" y="71"/>
                  </a:lnTo>
                  <a:lnTo>
                    <a:pt x="251" y="102"/>
                  </a:lnTo>
                  <a:lnTo>
                    <a:pt x="269" y="122"/>
                  </a:lnTo>
                  <a:lnTo>
                    <a:pt x="298" y="129"/>
                  </a:lnTo>
                  <a:lnTo>
                    <a:pt x="335" y="137"/>
                  </a:lnTo>
                  <a:lnTo>
                    <a:pt x="368" y="116"/>
                  </a:lnTo>
                  <a:lnTo>
                    <a:pt x="404" y="106"/>
                  </a:lnTo>
                  <a:lnTo>
                    <a:pt x="424" y="115"/>
                  </a:lnTo>
                  <a:lnTo>
                    <a:pt x="439" y="142"/>
                  </a:lnTo>
                  <a:lnTo>
                    <a:pt x="464" y="166"/>
                  </a:lnTo>
                  <a:lnTo>
                    <a:pt x="519" y="155"/>
                  </a:lnTo>
                  <a:lnTo>
                    <a:pt x="540" y="162"/>
                  </a:lnTo>
                  <a:lnTo>
                    <a:pt x="556" y="172"/>
                  </a:lnTo>
                  <a:lnTo>
                    <a:pt x="569" y="198"/>
                  </a:lnTo>
                  <a:lnTo>
                    <a:pt x="593" y="218"/>
                  </a:lnTo>
                  <a:lnTo>
                    <a:pt x="608" y="225"/>
                  </a:lnTo>
                  <a:lnTo>
                    <a:pt x="635" y="213"/>
                  </a:lnTo>
                  <a:lnTo>
                    <a:pt x="651" y="220"/>
                  </a:lnTo>
                  <a:lnTo>
                    <a:pt x="666" y="247"/>
                  </a:lnTo>
                  <a:lnTo>
                    <a:pt x="657" y="277"/>
                  </a:lnTo>
                  <a:lnTo>
                    <a:pt x="703" y="326"/>
                  </a:lnTo>
                  <a:lnTo>
                    <a:pt x="725" y="356"/>
                  </a:lnTo>
                  <a:lnTo>
                    <a:pt x="753" y="379"/>
                  </a:lnTo>
                  <a:lnTo>
                    <a:pt x="851" y="371"/>
                  </a:lnTo>
                  <a:lnTo>
                    <a:pt x="882" y="382"/>
                  </a:lnTo>
                  <a:lnTo>
                    <a:pt x="887" y="387"/>
                  </a:lnTo>
                  <a:lnTo>
                    <a:pt x="889" y="396"/>
                  </a:lnTo>
                  <a:lnTo>
                    <a:pt x="946" y="394"/>
                  </a:lnTo>
                  <a:lnTo>
                    <a:pt x="972" y="404"/>
                  </a:lnTo>
                  <a:lnTo>
                    <a:pt x="984" y="445"/>
                  </a:lnTo>
                  <a:lnTo>
                    <a:pt x="981" y="449"/>
                  </a:lnTo>
                  <a:lnTo>
                    <a:pt x="961" y="472"/>
                  </a:lnTo>
                  <a:lnTo>
                    <a:pt x="980" y="509"/>
                  </a:lnTo>
                  <a:lnTo>
                    <a:pt x="976" y="514"/>
                  </a:lnTo>
                  <a:lnTo>
                    <a:pt x="947" y="520"/>
                  </a:lnTo>
                  <a:lnTo>
                    <a:pt x="939" y="530"/>
                  </a:lnTo>
                  <a:lnTo>
                    <a:pt x="944" y="558"/>
                  </a:lnTo>
                  <a:lnTo>
                    <a:pt x="940" y="564"/>
                  </a:lnTo>
                  <a:lnTo>
                    <a:pt x="922" y="567"/>
                  </a:lnTo>
                  <a:lnTo>
                    <a:pt x="901" y="557"/>
                  </a:lnTo>
                  <a:lnTo>
                    <a:pt x="889" y="545"/>
                  </a:lnTo>
                  <a:lnTo>
                    <a:pt x="863" y="522"/>
                  </a:lnTo>
                  <a:lnTo>
                    <a:pt x="799" y="496"/>
                  </a:lnTo>
                  <a:lnTo>
                    <a:pt x="781" y="499"/>
                  </a:lnTo>
                  <a:lnTo>
                    <a:pt x="777" y="504"/>
                  </a:lnTo>
                  <a:lnTo>
                    <a:pt x="776" y="523"/>
                  </a:lnTo>
                  <a:lnTo>
                    <a:pt x="807" y="556"/>
                  </a:lnTo>
                  <a:lnTo>
                    <a:pt x="829" y="580"/>
                  </a:lnTo>
                  <a:lnTo>
                    <a:pt x="864" y="604"/>
                  </a:lnTo>
                  <a:lnTo>
                    <a:pt x="895" y="622"/>
                  </a:lnTo>
                  <a:lnTo>
                    <a:pt x="901" y="625"/>
                  </a:lnTo>
                  <a:lnTo>
                    <a:pt x="925" y="654"/>
                  </a:lnTo>
                  <a:lnTo>
                    <a:pt x="930" y="677"/>
                  </a:lnTo>
                  <a:lnTo>
                    <a:pt x="926" y="706"/>
                  </a:lnTo>
                  <a:lnTo>
                    <a:pt x="946" y="732"/>
                  </a:lnTo>
                  <a:lnTo>
                    <a:pt x="937" y="763"/>
                  </a:lnTo>
                  <a:lnTo>
                    <a:pt x="932" y="764"/>
                  </a:lnTo>
                  <a:lnTo>
                    <a:pt x="892" y="748"/>
                  </a:lnTo>
                  <a:lnTo>
                    <a:pt x="843" y="722"/>
                  </a:lnTo>
                  <a:lnTo>
                    <a:pt x="791" y="725"/>
                  </a:lnTo>
                  <a:lnTo>
                    <a:pt x="786" y="729"/>
                  </a:lnTo>
                  <a:lnTo>
                    <a:pt x="810" y="743"/>
                  </a:lnTo>
                  <a:lnTo>
                    <a:pt x="842" y="762"/>
                  </a:lnTo>
                  <a:lnTo>
                    <a:pt x="918" y="809"/>
                  </a:lnTo>
                  <a:lnTo>
                    <a:pt x="931" y="831"/>
                  </a:lnTo>
                  <a:lnTo>
                    <a:pt x="925" y="843"/>
                  </a:lnTo>
                  <a:lnTo>
                    <a:pt x="910" y="845"/>
                  </a:lnTo>
                  <a:lnTo>
                    <a:pt x="889" y="839"/>
                  </a:lnTo>
                  <a:lnTo>
                    <a:pt x="865" y="838"/>
                  </a:lnTo>
                  <a:close/>
                </a:path>
              </a:pathLst>
            </a:custGeom>
            <a:solidFill>
              <a:srgbClr val="00CC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7" name="Google Shape;570;p19">
              <a:extLst>
                <a:ext uri="{FF2B5EF4-FFF2-40B4-BE49-F238E27FC236}">
                  <a16:creationId xmlns:a16="http://schemas.microsoft.com/office/drawing/2014/main" id="{DBA8BBA6-392F-4955-9B49-A3E477032B7C}"/>
                </a:ext>
              </a:extLst>
            </p:cNvPr>
            <p:cNvSpPr/>
            <p:nvPr/>
          </p:nvSpPr>
          <p:spPr>
            <a:xfrm>
              <a:off x="2672" y="880"/>
              <a:ext cx="282" cy="221"/>
            </a:xfrm>
            <a:custGeom>
              <a:avLst/>
              <a:gdLst/>
              <a:ahLst/>
              <a:cxnLst/>
              <a:rect l="l" t="t" r="r" b="b"/>
              <a:pathLst>
                <a:path w="984" h="845" extrusionOk="0">
                  <a:moveTo>
                    <a:pt x="865" y="838"/>
                  </a:moveTo>
                  <a:lnTo>
                    <a:pt x="841" y="830"/>
                  </a:lnTo>
                  <a:lnTo>
                    <a:pt x="812" y="830"/>
                  </a:lnTo>
                  <a:lnTo>
                    <a:pt x="782" y="802"/>
                  </a:lnTo>
                  <a:lnTo>
                    <a:pt x="777" y="794"/>
                  </a:lnTo>
                  <a:lnTo>
                    <a:pt x="762" y="793"/>
                  </a:lnTo>
                  <a:lnTo>
                    <a:pt x="714" y="787"/>
                  </a:lnTo>
                  <a:lnTo>
                    <a:pt x="708" y="784"/>
                  </a:lnTo>
                  <a:lnTo>
                    <a:pt x="692" y="757"/>
                  </a:lnTo>
                  <a:lnTo>
                    <a:pt x="680" y="721"/>
                  </a:lnTo>
                  <a:lnTo>
                    <a:pt x="640" y="705"/>
                  </a:lnTo>
                  <a:lnTo>
                    <a:pt x="611" y="695"/>
                  </a:lnTo>
                  <a:lnTo>
                    <a:pt x="567" y="671"/>
                  </a:lnTo>
                  <a:lnTo>
                    <a:pt x="561" y="638"/>
                  </a:lnTo>
                  <a:lnTo>
                    <a:pt x="563" y="628"/>
                  </a:lnTo>
                  <a:lnTo>
                    <a:pt x="557" y="601"/>
                  </a:lnTo>
                  <a:lnTo>
                    <a:pt x="575" y="568"/>
                  </a:lnTo>
                  <a:lnTo>
                    <a:pt x="603" y="542"/>
                  </a:lnTo>
                  <a:lnTo>
                    <a:pt x="622" y="515"/>
                  </a:lnTo>
                  <a:lnTo>
                    <a:pt x="605" y="432"/>
                  </a:lnTo>
                  <a:lnTo>
                    <a:pt x="583" y="383"/>
                  </a:lnTo>
                  <a:lnTo>
                    <a:pt x="549" y="365"/>
                  </a:lnTo>
                  <a:lnTo>
                    <a:pt x="515" y="358"/>
                  </a:lnTo>
                  <a:lnTo>
                    <a:pt x="482" y="364"/>
                  </a:lnTo>
                  <a:lnTo>
                    <a:pt x="466" y="353"/>
                  </a:lnTo>
                  <a:lnTo>
                    <a:pt x="471" y="323"/>
                  </a:lnTo>
                  <a:lnTo>
                    <a:pt x="456" y="301"/>
                  </a:lnTo>
                  <a:lnTo>
                    <a:pt x="451" y="298"/>
                  </a:lnTo>
                  <a:lnTo>
                    <a:pt x="415" y="309"/>
                  </a:lnTo>
                  <a:lnTo>
                    <a:pt x="409" y="310"/>
                  </a:lnTo>
                  <a:lnTo>
                    <a:pt x="387" y="291"/>
                  </a:lnTo>
                  <a:lnTo>
                    <a:pt x="380" y="263"/>
                  </a:lnTo>
                  <a:lnTo>
                    <a:pt x="361" y="254"/>
                  </a:lnTo>
                  <a:lnTo>
                    <a:pt x="332" y="270"/>
                  </a:lnTo>
                  <a:lnTo>
                    <a:pt x="318" y="290"/>
                  </a:lnTo>
                  <a:lnTo>
                    <a:pt x="265" y="295"/>
                  </a:lnTo>
                  <a:lnTo>
                    <a:pt x="230" y="292"/>
                  </a:lnTo>
                  <a:lnTo>
                    <a:pt x="200" y="279"/>
                  </a:lnTo>
                  <a:lnTo>
                    <a:pt x="158" y="283"/>
                  </a:lnTo>
                  <a:lnTo>
                    <a:pt x="127" y="275"/>
                  </a:lnTo>
                  <a:lnTo>
                    <a:pt x="48" y="212"/>
                  </a:lnTo>
                  <a:lnTo>
                    <a:pt x="18" y="183"/>
                  </a:lnTo>
                  <a:lnTo>
                    <a:pt x="0" y="160"/>
                  </a:lnTo>
                  <a:lnTo>
                    <a:pt x="0" y="131"/>
                  </a:lnTo>
                  <a:lnTo>
                    <a:pt x="34" y="89"/>
                  </a:lnTo>
                  <a:lnTo>
                    <a:pt x="58" y="42"/>
                  </a:lnTo>
                  <a:lnTo>
                    <a:pt x="97" y="2"/>
                  </a:lnTo>
                  <a:lnTo>
                    <a:pt x="126" y="0"/>
                  </a:lnTo>
                  <a:lnTo>
                    <a:pt x="134" y="18"/>
                  </a:lnTo>
                  <a:lnTo>
                    <a:pt x="132" y="33"/>
                  </a:lnTo>
                  <a:lnTo>
                    <a:pt x="115" y="62"/>
                  </a:lnTo>
                  <a:lnTo>
                    <a:pt x="90" y="84"/>
                  </a:lnTo>
                  <a:lnTo>
                    <a:pt x="91" y="93"/>
                  </a:lnTo>
                  <a:lnTo>
                    <a:pt x="106" y="120"/>
                  </a:lnTo>
                  <a:lnTo>
                    <a:pt x="103" y="150"/>
                  </a:lnTo>
                  <a:lnTo>
                    <a:pt x="105" y="211"/>
                  </a:lnTo>
                  <a:lnTo>
                    <a:pt x="130" y="242"/>
                  </a:lnTo>
                  <a:lnTo>
                    <a:pt x="146" y="218"/>
                  </a:lnTo>
                  <a:lnTo>
                    <a:pt x="156" y="176"/>
                  </a:lnTo>
                  <a:lnTo>
                    <a:pt x="150" y="145"/>
                  </a:lnTo>
                  <a:lnTo>
                    <a:pt x="147" y="107"/>
                  </a:lnTo>
                  <a:lnTo>
                    <a:pt x="146" y="79"/>
                  </a:lnTo>
                  <a:lnTo>
                    <a:pt x="159" y="47"/>
                  </a:lnTo>
                  <a:lnTo>
                    <a:pt x="165" y="36"/>
                  </a:lnTo>
                  <a:lnTo>
                    <a:pt x="233" y="13"/>
                  </a:lnTo>
                  <a:lnTo>
                    <a:pt x="239" y="17"/>
                  </a:lnTo>
                  <a:lnTo>
                    <a:pt x="254" y="71"/>
                  </a:lnTo>
                  <a:lnTo>
                    <a:pt x="251" y="102"/>
                  </a:lnTo>
                  <a:lnTo>
                    <a:pt x="269" y="122"/>
                  </a:lnTo>
                  <a:lnTo>
                    <a:pt x="298" y="129"/>
                  </a:lnTo>
                  <a:lnTo>
                    <a:pt x="335" y="137"/>
                  </a:lnTo>
                  <a:lnTo>
                    <a:pt x="368" y="116"/>
                  </a:lnTo>
                  <a:lnTo>
                    <a:pt x="404" y="106"/>
                  </a:lnTo>
                  <a:lnTo>
                    <a:pt x="424" y="115"/>
                  </a:lnTo>
                  <a:lnTo>
                    <a:pt x="439" y="142"/>
                  </a:lnTo>
                  <a:lnTo>
                    <a:pt x="464" y="166"/>
                  </a:lnTo>
                  <a:lnTo>
                    <a:pt x="519" y="155"/>
                  </a:lnTo>
                  <a:lnTo>
                    <a:pt x="540" y="162"/>
                  </a:lnTo>
                  <a:lnTo>
                    <a:pt x="556" y="172"/>
                  </a:lnTo>
                  <a:lnTo>
                    <a:pt x="569" y="198"/>
                  </a:lnTo>
                  <a:lnTo>
                    <a:pt x="593" y="218"/>
                  </a:lnTo>
                  <a:lnTo>
                    <a:pt x="608" y="225"/>
                  </a:lnTo>
                  <a:lnTo>
                    <a:pt x="635" y="213"/>
                  </a:lnTo>
                  <a:lnTo>
                    <a:pt x="651" y="220"/>
                  </a:lnTo>
                  <a:lnTo>
                    <a:pt x="666" y="247"/>
                  </a:lnTo>
                  <a:lnTo>
                    <a:pt x="657" y="277"/>
                  </a:lnTo>
                  <a:lnTo>
                    <a:pt x="703" y="326"/>
                  </a:lnTo>
                  <a:lnTo>
                    <a:pt x="725" y="356"/>
                  </a:lnTo>
                  <a:lnTo>
                    <a:pt x="753" y="379"/>
                  </a:lnTo>
                  <a:lnTo>
                    <a:pt x="851" y="371"/>
                  </a:lnTo>
                  <a:lnTo>
                    <a:pt x="882" y="382"/>
                  </a:lnTo>
                  <a:lnTo>
                    <a:pt x="887" y="387"/>
                  </a:lnTo>
                  <a:lnTo>
                    <a:pt x="889" y="396"/>
                  </a:lnTo>
                  <a:lnTo>
                    <a:pt x="946" y="394"/>
                  </a:lnTo>
                  <a:lnTo>
                    <a:pt x="972" y="404"/>
                  </a:lnTo>
                  <a:lnTo>
                    <a:pt x="984" y="445"/>
                  </a:lnTo>
                  <a:lnTo>
                    <a:pt x="981" y="449"/>
                  </a:lnTo>
                  <a:lnTo>
                    <a:pt x="961" y="472"/>
                  </a:lnTo>
                  <a:lnTo>
                    <a:pt x="980" y="509"/>
                  </a:lnTo>
                  <a:lnTo>
                    <a:pt x="976" y="514"/>
                  </a:lnTo>
                  <a:lnTo>
                    <a:pt x="947" y="520"/>
                  </a:lnTo>
                  <a:lnTo>
                    <a:pt x="939" y="530"/>
                  </a:lnTo>
                  <a:lnTo>
                    <a:pt x="944" y="558"/>
                  </a:lnTo>
                  <a:lnTo>
                    <a:pt x="940" y="564"/>
                  </a:lnTo>
                  <a:lnTo>
                    <a:pt x="922" y="567"/>
                  </a:lnTo>
                  <a:lnTo>
                    <a:pt x="901" y="557"/>
                  </a:lnTo>
                  <a:lnTo>
                    <a:pt x="889" y="545"/>
                  </a:lnTo>
                  <a:lnTo>
                    <a:pt x="863" y="522"/>
                  </a:lnTo>
                  <a:lnTo>
                    <a:pt x="799" y="496"/>
                  </a:lnTo>
                  <a:lnTo>
                    <a:pt x="781" y="499"/>
                  </a:lnTo>
                  <a:lnTo>
                    <a:pt x="777" y="504"/>
                  </a:lnTo>
                  <a:lnTo>
                    <a:pt x="776" y="523"/>
                  </a:lnTo>
                  <a:lnTo>
                    <a:pt x="807" y="556"/>
                  </a:lnTo>
                  <a:lnTo>
                    <a:pt x="829" y="580"/>
                  </a:lnTo>
                  <a:lnTo>
                    <a:pt x="864" y="604"/>
                  </a:lnTo>
                  <a:lnTo>
                    <a:pt x="895" y="622"/>
                  </a:lnTo>
                  <a:lnTo>
                    <a:pt x="901" y="625"/>
                  </a:lnTo>
                  <a:lnTo>
                    <a:pt x="925" y="654"/>
                  </a:lnTo>
                  <a:lnTo>
                    <a:pt x="930" y="677"/>
                  </a:lnTo>
                  <a:lnTo>
                    <a:pt x="926" y="706"/>
                  </a:lnTo>
                  <a:lnTo>
                    <a:pt x="946" y="732"/>
                  </a:lnTo>
                  <a:lnTo>
                    <a:pt x="937" y="763"/>
                  </a:lnTo>
                  <a:lnTo>
                    <a:pt x="932" y="764"/>
                  </a:lnTo>
                  <a:lnTo>
                    <a:pt x="892" y="748"/>
                  </a:lnTo>
                  <a:lnTo>
                    <a:pt x="843" y="722"/>
                  </a:lnTo>
                  <a:lnTo>
                    <a:pt x="791" y="725"/>
                  </a:lnTo>
                  <a:lnTo>
                    <a:pt x="786" y="729"/>
                  </a:lnTo>
                  <a:lnTo>
                    <a:pt x="810" y="743"/>
                  </a:lnTo>
                  <a:lnTo>
                    <a:pt x="842" y="762"/>
                  </a:lnTo>
                  <a:lnTo>
                    <a:pt x="918" y="809"/>
                  </a:lnTo>
                  <a:lnTo>
                    <a:pt x="931" y="831"/>
                  </a:lnTo>
                  <a:lnTo>
                    <a:pt x="925" y="843"/>
                  </a:lnTo>
                  <a:lnTo>
                    <a:pt x="910" y="845"/>
                  </a:lnTo>
                  <a:lnTo>
                    <a:pt x="889" y="839"/>
                  </a:lnTo>
                  <a:lnTo>
                    <a:pt x="865" y="838"/>
                  </a:lnTo>
                </a:path>
              </a:pathLst>
            </a:custGeom>
            <a:solidFill>
              <a:srgbClr val="B9D9E9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8" name="Google Shape;571;p19">
              <a:extLst>
                <a:ext uri="{FF2B5EF4-FFF2-40B4-BE49-F238E27FC236}">
                  <a16:creationId xmlns:a16="http://schemas.microsoft.com/office/drawing/2014/main" id="{C97CCABA-078E-4F58-B762-44E7A8F95CF7}"/>
                </a:ext>
              </a:extLst>
            </p:cNvPr>
            <p:cNvSpPr/>
            <p:nvPr/>
          </p:nvSpPr>
          <p:spPr>
            <a:xfrm>
              <a:off x="3157" y="1268"/>
              <a:ext cx="103" cy="95"/>
            </a:xfrm>
            <a:custGeom>
              <a:avLst/>
              <a:gdLst/>
              <a:ahLst/>
              <a:cxnLst/>
              <a:rect l="l" t="t" r="r" b="b"/>
              <a:pathLst>
                <a:path w="362" h="358" extrusionOk="0">
                  <a:moveTo>
                    <a:pt x="13" y="196"/>
                  </a:moveTo>
                  <a:lnTo>
                    <a:pt x="16" y="225"/>
                  </a:lnTo>
                  <a:lnTo>
                    <a:pt x="10" y="266"/>
                  </a:lnTo>
                  <a:lnTo>
                    <a:pt x="16" y="282"/>
                  </a:lnTo>
                  <a:lnTo>
                    <a:pt x="4" y="314"/>
                  </a:lnTo>
                  <a:lnTo>
                    <a:pt x="11" y="327"/>
                  </a:lnTo>
                  <a:lnTo>
                    <a:pt x="16" y="356"/>
                  </a:lnTo>
                  <a:lnTo>
                    <a:pt x="37" y="358"/>
                  </a:lnTo>
                  <a:lnTo>
                    <a:pt x="53" y="343"/>
                  </a:lnTo>
                  <a:lnTo>
                    <a:pt x="77" y="319"/>
                  </a:lnTo>
                  <a:lnTo>
                    <a:pt x="105" y="309"/>
                  </a:lnTo>
                  <a:lnTo>
                    <a:pt x="129" y="313"/>
                  </a:lnTo>
                  <a:lnTo>
                    <a:pt x="156" y="291"/>
                  </a:lnTo>
                  <a:lnTo>
                    <a:pt x="189" y="284"/>
                  </a:lnTo>
                  <a:lnTo>
                    <a:pt x="201" y="290"/>
                  </a:lnTo>
                  <a:lnTo>
                    <a:pt x="211" y="313"/>
                  </a:lnTo>
                  <a:lnTo>
                    <a:pt x="207" y="320"/>
                  </a:lnTo>
                  <a:lnTo>
                    <a:pt x="207" y="332"/>
                  </a:lnTo>
                  <a:lnTo>
                    <a:pt x="218" y="329"/>
                  </a:lnTo>
                  <a:lnTo>
                    <a:pt x="225" y="320"/>
                  </a:lnTo>
                  <a:lnTo>
                    <a:pt x="230" y="295"/>
                  </a:lnTo>
                  <a:lnTo>
                    <a:pt x="243" y="262"/>
                  </a:lnTo>
                  <a:lnTo>
                    <a:pt x="255" y="255"/>
                  </a:lnTo>
                  <a:lnTo>
                    <a:pt x="277" y="270"/>
                  </a:lnTo>
                  <a:lnTo>
                    <a:pt x="287" y="289"/>
                  </a:lnTo>
                  <a:lnTo>
                    <a:pt x="295" y="316"/>
                  </a:lnTo>
                  <a:lnTo>
                    <a:pt x="300" y="314"/>
                  </a:lnTo>
                  <a:lnTo>
                    <a:pt x="318" y="307"/>
                  </a:lnTo>
                  <a:lnTo>
                    <a:pt x="325" y="317"/>
                  </a:lnTo>
                  <a:lnTo>
                    <a:pt x="347" y="334"/>
                  </a:lnTo>
                  <a:lnTo>
                    <a:pt x="362" y="312"/>
                  </a:lnTo>
                  <a:lnTo>
                    <a:pt x="359" y="274"/>
                  </a:lnTo>
                  <a:lnTo>
                    <a:pt x="344" y="243"/>
                  </a:lnTo>
                  <a:lnTo>
                    <a:pt x="333" y="236"/>
                  </a:lnTo>
                  <a:lnTo>
                    <a:pt x="296" y="243"/>
                  </a:lnTo>
                  <a:lnTo>
                    <a:pt x="287" y="241"/>
                  </a:lnTo>
                  <a:lnTo>
                    <a:pt x="283" y="223"/>
                  </a:lnTo>
                  <a:lnTo>
                    <a:pt x="289" y="215"/>
                  </a:lnTo>
                  <a:lnTo>
                    <a:pt x="290" y="207"/>
                  </a:lnTo>
                  <a:lnTo>
                    <a:pt x="285" y="193"/>
                  </a:lnTo>
                  <a:lnTo>
                    <a:pt x="261" y="187"/>
                  </a:lnTo>
                  <a:lnTo>
                    <a:pt x="239" y="173"/>
                  </a:lnTo>
                  <a:lnTo>
                    <a:pt x="225" y="151"/>
                  </a:lnTo>
                  <a:lnTo>
                    <a:pt x="219" y="118"/>
                  </a:lnTo>
                  <a:lnTo>
                    <a:pt x="212" y="111"/>
                  </a:lnTo>
                  <a:lnTo>
                    <a:pt x="200" y="113"/>
                  </a:lnTo>
                  <a:lnTo>
                    <a:pt x="189" y="122"/>
                  </a:lnTo>
                  <a:lnTo>
                    <a:pt x="178" y="151"/>
                  </a:lnTo>
                  <a:lnTo>
                    <a:pt x="162" y="165"/>
                  </a:lnTo>
                  <a:lnTo>
                    <a:pt x="129" y="156"/>
                  </a:lnTo>
                  <a:lnTo>
                    <a:pt x="122" y="132"/>
                  </a:lnTo>
                  <a:lnTo>
                    <a:pt x="127" y="113"/>
                  </a:lnTo>
                  <a:lnTo>
                    <a:pt x="116" y="104"/>
                  </a:lnTo>
                  <a:lnTo>
                    <a:pt x="90" y="111"/>
                  </a:lnTo>
                  <a:lnTo>
                    <a:pt x="75" y="141"/>
                  </a:lnTo>
                  <a:lnTo>
                    <a:pt x="68" y="155"/>
                  </a:lnTo>
                  <a:lnTo>
                    <a:pt x="57" y="154"/>
                  </a:lnTo>
                  <a:lnTo>
                    <a:pt x="50" y="141"/>
                  </a:lnTo>
                  <a:lnTo>
                    <a:pt x="49" y="108"/>
                  </a:lnTo>
                  <a:lnTo>
                    <a:pt x="49" y="79"/>
                  </a:lnTo>
                  <a:lnTo>
                    <a:pt x="52" y="41"/>
                  </a:lnTo>
                  <a:lnTo>
                    <a:pt x="49" y="4"/>
                  </a:lnTo>
                  <a:lnTo>
                    <a:pt x="39" y="0"/>
                  </a:lnTo>
                  <a:lnTo>
                    <a:pt x="18" y="8"/>
                  </a:lnTo>
                  <a:lnTo>
                    <a:pt x="4" y="46"/>
                  </a:lnTo>
                  <a:lnTo>
                    <a:pt x="0" y="92"/>
                  </a:lnTo>
                  <a:lnTo>
                    <a:pt x="18" y="137"/>
                  </a:lnTo>
                  <a:lnTo>
                    <a:pt x="7" y="173"/>
                  </a:lnTo>
                  <a:lnTo>
                    <a:pt x="13" y="196"/>
                  </a:lnTo>
                  <a:close/>
                </a:path>
              </a:pathLst>
            </a:custGeom>
            <a:solidFill>
              <a:srgbClr val="00CC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9" name="Google Shape;572;p19">
              <a:extLst>
                <a:ext uri="{FF2B5EF4-FFF2-40B4-BE49-F238E27FC236}">
                  <a16:creationId xmlns:a16="http://schemas.microsoft.com/office/drawing/2014/main" id="{67B9E4EF-258F-4C51-B6E2-002BE11C24F5}"/>
                </a:ext>
              </a:extLst>
            </p:cNvPr>
            <p:cNvSpPr/>
            <p:nvPr/>
          </p:nvSpPr>
          <p:spPr>
            <a:xfrm>
              <a:off x="3157" y="1268"/>
              <a:ext cx="103" cy="95"/>
            </a:xfrm>
            <a:custGeom>
              <a:avLst/>
              <a:gdLst/>
              <a:ahLst/>
              <a:cxnLst/>
              <a:rect l="l" t="t" r="r" b="b"/>
              <a:pathLst>
                <a:path w="362" h="358" extrusionOk="0">
                  <a:moveTo>
                    <a:pt x="13" y="196"/>
                  </a:moveTo>
                  <a:lnTo>
                    <a:pt x="16" y="225"/>
                  </a:lnTo>
                  <a:lnTo>
                    <a:pt x="10" y="266"/>
                  </a:lnTo>
                  <a:lnTo>
                    <a:pt x="16" y="282"/>
                  </a:lnTo>
                  <a:lnTo>
                    <a:pt x="4" y="314"/>
                  </a:lnTo>
                  <a:lnTo>
                    <a:pt x="11" y="327"/>
                  </a:lnTo>
                  <a:lnTo>
                    <a:pt x="16" y="356"/>
                  </a:lnTo>
                  <a:lnTo>
                    <a:pt x="37" y="358"/>
                  </a:lnTo>
                  <a:lnTo>
                    <a:pt x="53" y="343"/>
                  </a:lnTo>
                  <a:lnTo>
                    <a:pt x="77" y="319"/>
                  </a:lnTo>
                  <a:lnTo>
                    <a:pt x="105" y="309"/>
                  </a:lnTo>
                  <a:lnTo>
                    <a:pt x="129" y="313"/>
                  </a:lnTo>
                  <a:lnTo>
                    <a:pt x="156" y="291"/>
                  </a:lnTo>
                  <a:lnTo>
                    <a:pt x="189" y="284"/>
                  </a:lnTo>
                  <a:lnTo>
                    <a:pt x="201" y="290"/>
                  </a:lnTo>
                  <a:lnTo>
                    <a:pt x="211" y="313"/>
                  </a:lnTo>
                  <a:lnTo>
                    <a:pt x="207" y="320"/>
                  </a:lnTo>
                  <a:lnTo>
                    <a:pt x="207" y="332"/>
                  </a:lnTo>
                  <a:lnTo>
                    <a:pt x="218" y="329"/>
                  </a:lnTo>
                  <a:lnTo>
                    <a:pt x="225" y="320"/>
                  </a:lnTo>
                  <a:lnTo>
                    <a:pt x="230" y="295"/>
                  </a:lnTo>
                  <a:lnTo>
                    <a:pt x="243" y="262"/>
                  </a:lnTo>
                  <a:lnTo>
                    <a:pt x="255" y="255"/>
                  </a:lnTo>
                  <a:lnTo>
                    <a:pt x="277" y="270"/>
                  </a:lnTo>
                  <a:lnTo>
                    <a:pt x="287" y="289"/>
                  </a:lnTo>
                  <a:lnTo>
                    <a:pt x="295" y="316"/>
                  </a:lnTo>
                  <a:lnTo>
                    <a:pt x="300" y="314"/>
                  </a:lnTo>
                  <a:lnTo>
                    <a:pt x="318" y="307"/>
                  </a:lnTo>
                  <a:lnTo>
                    <a:pt x="325" y="317"/>
                  </a:lnTo>
                  <a:lnTo>
                    <a:pt x="347" y="334"/>
                  </a:lnTo>
                  <a:lnTo>
                    <a:pt x="362" y="312"/>
                  </a:lnTo>
                  <a:lnTo>
                    <a:pt x="359" y="274"/>
                  </a:lnTo>
                  <a:lnTo>
                    <a:pt x="344" y="243"/>
                  </a:lnTo>
                  <a:lnTo>
                    <a:pt x="333" y="236"/>
                  </a:lnTo>
                  <a:lnTo>
                    <a:pt x="296" y="243"/>
                  </a:lnTo>
                  <a:lnTo>
                    <a:pt x="287" y="241"/>
                  </a:lnTo>
                  <a:lnTo>
                    <a:pt x="283" y="223"/>
                  </a:lnTo>
                  <a:lnTo>
                    <a:pt x="289" y="215"/>
                  </a:lnTo>
                  <a:lnTo>
                    <a:pt x="290" y="207"/>
                  </a:lnTo>
                  <a:lnTo>
                    <a:pt x="285" y="193"/>
                  </a:lnTo>
                  <a:lnTo>
                    <a:pt x="261" y="187"/>
                  </a:lnTo>
                  <a:lnTo>
                    <a:pt x="239" y="173"/>
                  </a:lnTo>
                  <a:lnTo>
                    <a:pt x="225" y="151"/>
                  </a:lnTo>
                  <a:lnTo>
                    <a:pt x="219" y="118"/>
                  </a:lnTo>
                  <a:lnTo>
                    <a:pt x="212" y="111"/>
                  </a:lnTo>
                  <a:lnTo>
                    <a:pt x="200" y="113"/>
                  </a:lnTo>
                  <a:lnTo>
                    <a:pt x="189" y="122"/>
                  </a:lnTo>
                  <a:lnTo>
                    <a:pt x="178" y="151"/>
                  </a:lnTo>
                  <a:lnTo>
                    <a:pt x="162" y="165"/>
                  </a:lnTo>
                  <a:lnTo>
                    <a:pt x="129" y="156"/>
                  </a:lnTo>
                  <a:lnTo>
                    <a:pt x="122" y="132"/>
                  </a:lnTo>
                  <a:lnTo>
                    <a:pt x="127" y="113"/>
                  </a:lnTo>
                  <a:lnTo>
                    <a:pt x="116" y="104"/>
                  </a:lnTo>
                  <a:lnTo>
                    <a:pt x="90" y="111"/>
                  </a:lnTo>
                  <a:lnTo>
                    <a:pt x="75" y="141"/>
                  </a:lnTo>
                  <a:lnTo>
                    <a:pt x="68" y="155"/>
                  </a:lnTo>
                  <a:lnTo>
                    <a:pt x="57" y="154"/>
                  </a:lnTo>
                  <a:lnTo>
                    <a:pt x="50" y="141"/>
                  </a:lnTo>
                  <a:lnTo>
                    <a:pt x="49" y="108"/>
                  </a:lnTo>
                  <a:lnTo>
                    <a:pt x="49" y="79"/>
                  </a:lnTo>
                  <a:lnTo>
                    <a:pt x="52" y="41"/>
                  </a:lnTo>
                  <a:lnTo>
                    <a:pt x="49" y="4"/>
                  </a:lnTo>
                  <a:lnTo>
                    <a:pt x="39" y="0"/>
                  </a:lnTo>
                  <a:lnTo>
                    <a:pt x="18" y="8"/>
                  </a:lnTo>
                  <a:lnTo>
                    <a:pt x="4" y="46"/>
                  </a:lnTo>
                  <a:lnTo>
                    <a:pt x="0" y="92"/>
                  </a:lnTo>
                  <a:lnTo>
                    <a:pt x="18" y="137"/>
                  </a:lnTo>
                  <a:lnTo>
                    <a:pt x="7" y="173"/>
                  </a:lnTo>
                  <a:lnTo>
                    <a:pt x="13" y="196"/>
                  </a:lnTo>
                </a:path>
              </a:pathLst>
            </a:custGeom>
            <a:solidFill>
              <a:srgbClr val="B9D9E9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0" name="Google Shape;573;p19">
              <a:extLst>
                <a:ext uri="{FF2B5EF4-FFF2-40B4-BE49-F238E27FC236}">
                  <a16:creationId xmlns:a16="http://schemas.microsoft.com/office/drawing/2014/main" id="{937ABF92-071B-40EB-8D70-AC735CA65AB1}"/>
                </a:ext>
              </a:extLst>
            </p:cNvPr>
            <p:cNvSpPr/>
            <p:nvPr/>
          </p:nvSpPr>
          <p:spPr>
            <a:xfrm>
              <a:off x="3054" y="1336"/>
              <a:ext cx="44" cy="14"/>
            </a:xfrm>
            <a:custGeom>
              <a:avLst/>
              <a:gdLst/>
              <a:ahLst/>
              <a:cxnLst/>
              <a:rect l="l" t="t" r="r" b="b"/>
              <a:pathLst>
                <a:path w="159" h="58" extrusionOk="0">
                  <a:moveTo>
                    <a:pt x="7" y="11"/>
                  </a:moveTo>
                  <a:lnTo>
                    <a:pt x="66" y="0"/>
                  </a:lnTo>
                  <a:lnTo>
                    <a:pt x="94" y="1"/>
                  </a:lnTo>
                  <a:lnTo>
                    <a:pt x="136" y="16"/>
                  </a:lnTo>
                  <a:lnTo>
                    <a:pt x="159" y="45"/>
                  </a:lnTo>
                  <a:lnTo>
                    <a:pt x="155" y="51"/>
                  </a:lnTo>
                  <a:lnTo>
                    <a:pt x="125" y="57"/>
                  </a:lnTo>
                  <a:lnTo>
                    <a:pt x="92" y="58"/>
                  </a:lnTo>
                  <a:lnTo>
                    <a:pt x="19" y="47"/>
                  </a:lnTo>
                  <a:lnTo>
                    <a:pt x="14" y="44"/>
                  </a:lnTo>
                  <a:lnTo>
                    <a:pt x="0" y="24"/>
                  </a:lnTo>
                  <a:lnTo>
                    <a:pt x="7" y="11"/>
                  </a:lnTo>
                  <a:close/>
                </a:path>
              </a:pathLst>
            </a:custGeom>
            <a:solidFill>
              <a:srgbClr val="00CC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1" name="Google Shape;574;p19">
              <a:extLst>
                <a:ext uri="{FF2B5EF4-FFF2-40B4-BE49-F238E27FC236}">
                  <a16:creationId xmlns:a16="http://schemas.microsoft.com/office/drawing/2014/main" id="{5A121543-0D28-4FEB-AD6E-43988E8A37C0}"/>
                </a:ext>
              </a:extLst>
            </p:cNvPr>
            <p:cNvSpPr/>
            <p:nvPr/>
          </p:nvSpPr>
          <p:spPr>
            <a:xfrm>
              <a:off x="3054" y="1336"/>
              <a:ext cx="44" cy="14"/>
            </a:xfrm>
            <a:custGeom>
              <a:avLst/>
              <a:gdLst/>
              <a:ahLst/>
              <a:cxnLst/>
              <a:rect l="l" t="t" r="r" b="b"/>
              <a:pathLst>
                <a:path w="159" h="58" extrusionOk="0">
                  <a:moveTo>
                    <a:pt x="7" y="11"/>
                  </a:moveTo>
                  <a:lnTo>
                    <a:pt x="66" y="0"/>
                  </a:lnTo>
                  <a:lnTo>
                    <a:pt x="94" y="1"/>
                  </a:lnTo>
                  <a:lnTo>
                    <a:pt x="136" y="16"/>
                  </a:lnTo>
                  <a:lnTo>
                    <a:pt x="159" y="45"/>
                  </a:lnTo>
                  <a:lnTo>
                    <a:pt x="155" y="51"/>
                  </a:lnTo>
                  <a:lnTo>
                    <a:pt x="125" y="57"/>
                  </a:lnTo>
                  <a:lnTo>
                    <a:pt x="92" y="58"/>
                  </a:lnTo>
                  <a:lnTo>
                    <a:pt x="19" y="47"/>
                  </a:lnTo>
                  <a:lnTo>
                    <a:pt x="14" y="44"/>
                  </a:lnTo>
                  <a:lnTo>
                    <a:pt x="0" y="24"/>
                  </a:lnTo>
                  <a:lnTo>
                    <a:pt x="7" y="11"/>
                  </a:lnTo>
                </a:path>
              </a:pathLst>
            </a:custGeom>
            <a:solidFill>
              <a:srgbClr val="B9D9E9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2" name="Google Shape;575;p19">
              <a:extLst>
                <a:ext uri="{FF2B5EF4-FFF2-40B4-BE49-F238E27FC236}">
                  <a16:creationId xmlns:a16="http://schemas.microsoft.com/office/drawing/2014/main" id="{E6F1003F-4F2A-4A4D-AC11-C95FE98F81BF}"/>
                </a:ext>
              </a:extLst>
            </p:cNvPr>
            <p:cNvSpPr/>
            <p:nvPr/>
          </p:nvSpPr>
          <p:spPr>
            <a:xfrm>
              <a:off x="3082" y="1398"/>
              <a:ext cx="41" cy="15"/>
            </a:xfrm>
            <a:custGeom>
              <a:avLst/>
              <a:gdLst/>
              <a:ahLst/>
              <a:cxnLst/>
              <a:rect l="l" t="t" r="r" b="b"/>
              <a:pathLst>
                <a:path w="142" h="62" extrusionOk="0">
                  <a:moveTo>
                    <a:pt x="25" y="13"/>
                  </a:moveTo>
                  <a:lnTo>
                    <a:pt x="57" y="27"/>
                  </a:lnTo>
                  <a:lnTo>
                    <a:pt x="79" y="22"/>
                  </a:lnTo>
                  <a:lnTo>
                    <a:pt x="102" y="4"/>
                  </a:lnTo>
                  <a:lnTo>
                    <a:pt x="120" y="0"/>
                  </a:lnTo>
                  <a:lnTo>
                    <a:pt x="141" y="4"/>
                  </a:lnTo>
                  <a:lnTo>
                    <a:pt x="142" y="9"/>
                  </a:lnTo>
                  <a:lnTo>
                    <a:pt x="133" y="35"/>
                  </a:lnTo>
                  <a:lnTo>
                    <a:pt x="116" y="48"/>
                  </a:lnTo>
                  <a:lnTo>
                    <a:pt x="73" y="62"/>
                  </a:lnTo>
                  <a:lnTo>
                    <a:pt x="43" y="57"/>
                  </a:lnTo>
                  <a:lnTo>
                    <a:pt x="7" y="41"/>
                  </a:lnTo>
                  <a:lnTo>
                    <a:pt x="0" y="27"/>
                  </a:lnTo>
                  <a:lnTo>
                    <a:pt x="3" y="23"/>
                  </a:lnTo>
                  <a:lnTo>
                    <a:pt x="25" y="13"/>
                  </a:lnTo>
                  <a:close/>
                </a:path>
              </a:pathLst>
            </a:custGeom>
            <a:solidFill>
              <a:srgbClr val="00CC00"/>
            </a:solidFill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3" name="Google Shape;576;p19">
              <a:extLst>
                <a:ext uri="{FF2B5EF4-FFF2-40B4-BE49-F238E27FC236}">
                  <a16:creationId xmlns:a16="http://schemas.microsoft.com/office/drawing/2014/main" id="{635CF1EF-8878-4CA7-BC5D-1B6CF00846D8}"/>
                </a:ext>
              </a:extLst>
            </p:cNvPr>
            <p:cNvSpPr/>
            <p:nvPr/>
          </p:nvSpPr>
          <p:spPr>
            <a:xfrm>
              <a:off x="3082" y="1398"/>
              <a:ext cx="41" cy="15"/>
            </a:xfrm>
            <a:custGeom>
              <a:avLst/>
              <a:gdLst/>
              <a:ahLst/>
              <a:cxnLst/>
              <a:rect l="l" t="t" r="r" b="b"/>
              <a:pathLst>
                <a:path w="142" h="62" extrusionOk="0">
                  <a:moveTo>
                    <a:pt x="25" y="13"/>
                  </a:moveTo>
                  <a:lnTo>
                    <a:pt x="57" y="27"/>
                  </a:lnTo>
                  <a:lnTo>
                    <a:pt x="79" y="22"/>
                  </a:lnTo>
                  <a:lnTo>
                    <a:pt x="102" y="4"/>
                  </a:lnTo>
                  <a:lnTo>
                    <a:pt x="120" y="0"/>
                  </a:lnTo>
                  <a:lnTo>
                    <a:pt x="141" y="4"/>
                  </a:lnTo>
                  <a:lnTo>
                    <a:pt x="142" y="9"/>
                  </a:lnTo>
                  <a:lnTo>
                    <a:pt x="133" y="35"/>
                  </a:lnTo>
                  <a:lnTo>
                    <a:pt x="116" y="48"/>
                  </a:lnTo>
                  <a:lnTo>
                    <a:pt x="73" y="62"/>
                  </a:lnTo>
                  <a:lnTo>
                    <a:pt x="43" y="57"/>
                  </a:lnTo>
                  <a:lnTo>
                    <a:pt x="7" y="41"/>
                  </a:lnTo>
                  <a:lnTo>
                    <a:pt x="0" y="27"/>
                  </a:lnTo>
                  <a:lnTo>
                    <a:pt x="3" y="23"/>
                  </a:lnTo>
                  <a:lnTo>
                    <a:pt x="25" y="13"/>
                  </a:lnTo>
                </a:path>
              </a:pathLst>
            </a:custGeom>
            <a:solidFill>
              <a:srgbClr val="B9D9E9"/>
            </a:solidFill>
            <a:ln w="12700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4" name="Google Shape;577;p19">
              <a:extLst>
                <a:ext uri="{FF2B5EF4-FFF2-40B4-BE49-F238E27FC236}">
                  <a16:creationId xmlns:a16="http://schemas.microsoft.com/office/drawing/2014/main" id="{6E57FDE9-6CBD-49B9-B350-588D8638F100}"/>
                </a:ext>
              </a:extLst>
            </p:cNvPr>
            <p:cNvSpPr/>
            <p:nvPr/>
          </p:nvSpPr>
          <p:spPr>
            <a:xfrm>
              <a:off x="2063" y="1298"/>
              <a:ext cx="54" cy="84"/>
            </a:xfrm>
            <a:custGeom>
              <a:avLst/>
              <a:gdLst/>
              <a:ahLst/>
              <a:cxnLst/>
              <a:rect l="l" t="t" r="r" b="b"/>
              <a:pathLst>
                <a:path w="190" h="323" extrusionOk="0">
                  <a:moveTo>
                    <a:pt x="110" y="117"/>
                  </a:moveTo>
                  <a:lnTo>
                    <a:pt x="98" y="92"/>
                  </a:lnTo>
                  <a:lnTo>
                    <a:pt x="80" y="81"/>
                  </a:lnTo>
                  <a:lnTo>
                    <a:pt x="64" y="66"/>
                  </a:lnTo>
                  <a:lnTo>
                    <a:pt x="54" y="48"/>
                  </a:lnTo>
                  <a:lnTo>
                    <a:pt x="23" y="2"/>
                  </a:lnTo>
                  <a:lnTo>
                    <a:pt x="8" y="0"/>
                  </a:lnTo>
                  <a:lnTo>
                    <a:pt x="0" y="9"/>
                  </a:lnTo>
                  <a:lnTo>
                    <a:pt x="0" y="30"/>
                  </a:lnTo>
                  <a:lnTo>
                    <a:pt x="16" y="35"/>
                  </a:lnTo>
                  <a:lnTo>
                    <a:pt x="21" y="48"/>
                  </a:lnTo>
                  <a:lnTo>
                    <a:pt x="10" y="60"/>
                  </a:lnTo>
                  <a:lnTo>
                    <a:pt x="9" y="74"/>
                  </a:lnTo>
                  <a:lnTo>
                    <a:pt x="36" y="101"/>
                  </a:lnTo>
                  <a:lnTo>
                    <a:pt x="62" y="142"/>
                  </a:lnTo>
                  <a:lnTo>
                    <a:pt x="93" y="206"/>
                  </a:lnTo>
                  <a:lnTo>
                    <a:pt x="98" y="223"/>
                  </a:lnTo>
                  <a:lnTo>
                    <a:pt x="126" y="290"/>
                  </a:lnTo>
                  <a:lnTo>
                    <a:pt x="140" y="308"/>
                  </a:lnTo>
                  <a:lnTo>
                    <a:pt x="158" y="323"/>
                  </a:lnTo>
                  <a:lnTo>
                    <a:pt x="183" y="318"/>
                  </a:lnTo>
                  <a:lnTo>
                    <a:pt x="190" y="302"/>
                  </a:lnTo>
                  <a:lnTo>
                    <a:pt x="169" y="272"/>
                  </a:lnTo>
                  <a:lnTo>
                    <a:pt x="156" y="259"/>
                  </a:lnTo>
                  <a:lnTo>
                    <a:pt x="136" y="220"/>
                  </a:lnTo>
                  <a:lnTo>
                    <a:pt x="121" y="147"/>
                  </a:lnTo>
                  <a:lnTo>
                    <a:pt x="110" y="117"/>
                  </a:lnTo>
                  <a:close/>
                </a:path>
              </a:pathLst>
            </a:custGeom>
            <a:solidFill>
              <a:srgbClr val="00CC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5" name="Google Shape;578;p19">
              <a:extLst>
                <a:ext uri="{FF2B5EF4-FFF2-40B4-BE49-F238E27FC236}">
                  <a16:creationId xmlns:a16="http://schemas.microsoft.com/office/drawing/2014/main" id="{97249B18-ACFE-4F8C-9264-CC469CB7E951}"/>
                </a:ext>
              </a:extLst>
            </p:cNvPr>
            <p:cNvSpPr/>
            <p:nvPr/>
          </p:nvSpPr>
          <p:spPr>
            <a:xfrm>
              <a:off x="2063" y="1298"/>
              <a:ext cx="54" cy="84"/>
            </a:xfrm>
            <a:custGeom>
              <a:avLst/>
              <a:gdLst/>
              <a:ahLst/>
              <a:cxnLst/>
              <a:rect l="l" t="t" r="r" b="b"/>
              <a:pathLst>
                <a:path w="190" h="323" extrusionOk="0">
                  <a:moveTo>
                    <a:pt x="110" y="117"/>
                  </a:moveTo>
                  <a:lnTo>
                    <a:pt x="98" y="92"/>
                  </a:lnTo>
                  <a:lnTo>
                    <a:pt x="80" y="81"/>
                  </a:lnTo>
                  <a:lnTo>
                    <a:pt x="64" y="66"/>
                  </a:lnTo>
                  <a:lnTo>
                    <a:pt x="54" y="48"/>
                  </a:lnTo>
                  <a:lnTo>
                    <a:pt x="23" y="2"/>
                  </a:lnTo>
                  <a:lnTo>
                    <a:pt x="8" y="0"/>
                  </a:lnTo>
                  <a:lnTo>
                    <a:pt x="0" y="9"/>
                  </a:lnTo>
                  <a:lnTo>
                    <a:pt x="0" y="30"/>
                  </a:lnTo>
                  <a:lnTo>
                    <a:pt x="16" y="35"/>
                  </a:lnTo>
                  <a:lnTo>
                    <a:pt x="21" y="48"/>
                  </a:lnTo>
                  <a:lnTo>
                    <a:pt x="10" y="60"/>
                  </a:lnTo>
                  <a:lnTo>
                    <a:pt x="9" y="74"/>
                  </a:lnTo>
                  <a:lnTo>
                    <a:pt x="36" y="101"/>
                  </a:lnTo>
                  <a:lnTo>
                    <a:pt x="62" y="142"/>
                  </a:lnTo>
                  <a:lnTo>
                    <a:pt x="93" y="206"/>
                  </a:lnTo>
                  <a:lnTo>
                    <a:pt x="98" y="223"/>
                  </a:lnTo>
                  <a:lnTo>
                    <a:pt x="126" y="290"/>
                  </a:lnTo>
                  <a:lnTo>
                    <a:pt x="140" y="308"/>
                  </a:lnTo>
                  <a:lnTo>
                    <a:pt x="158" y="323"/>
                  </a:lnTo>
                  <a:lnTo>
                    <a:pt x="183" y="318"/>
                  </a:lnTo>
                  <a:lnTo>
                    <a:pt x="190" y="302"/>
                  </a:lnTo>
                  <a:lnTo>
                    <a:pt x="169" y="272"/>
                  </a:lnTo>
                  <a:lnTo>
                    <a:pt x="156" y="259"/>
                  </a:lnTo>
                  <a:lnTo>
                    <a:pt x="136" y="220"/>
                  </a:lnTo>
                  <a:lnTo>
                    <a:pt x="121" y="147"/>
                  </a:lnTo>
                  <a:lnTo>
                    <a:pt x="110" y="117"/>
                  </a:lnTo>
                </a:path>
              </a:pathLst>
            </a:custGeom>
            <a:solidFill>
              <a:srgbClr val="B9D9E9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6" name="Google Shape;579;p19">
              <a:extLst>
                <a:ext uri="{FF2B5EF4-FFF2-40B4-BE49-F238E27FC236}">
                  <a16:creationId xmlns:a16="http://schemas.microsoft.com/office/drawing/2014/main" id="{351161A5-732C-4EEC-AC0C-40934C9984F9}"/>
                </a:ext>
              </a:extLst>
            </p:cNvPr>
            <p:cNvSpPr/>
            <p:nvPr/>
          </p:nvSpPr>
          <p:spPr>
            <a:xfrm>
              <a:off x="2035" y="1206"/>
              <a:ext cx="15" cy="24"/>
            </a:xfrm>
            <a:custGeom>
              <a:avLst/>
              <a:gdLst/>
              <a:ahLst/>
              <a:cxnLst/>
              <a:rect l="l" t="t" r="r" b="b"/>
              <a:pathLst>
                <a:path w="54" h="91" extrusionOk="0">
                  <a:moveTo>
                    <a:pt x="10" y="0"/>
                  </a:moveTo>
                  <a:lnTo>
                    <a:pt x="37" y="0"/>
                  </a:lnTo>
                  <a:lnTo>
                    <a:pt x="51" y="30"/>
                  </a:lnTo>
                  <a:lnTo>
                    <a:pt x="54" y="59"/>
                  </a:lnTo>
                  <a:lnTo>
                    <a:pt x="46" y="87"/>
                  </a:lnTo>
                  <a:lnTo>
                    <a:pt x="27" y="91"/>
                  </a:lnTo>
                  <a:lnTo>
                    <a:pt x="17" y="88"/>
                  </a:lnTo>
                  <a:lnTo>
                    <a:pt x="11" y="81"/>
                  </a:lnTo>
                  <a:lnTo>
                    <a:pt x="0" y="58"/>
                  </a:lnTo>
                  <a:lnTo>
                    <a:pt x="3" y="16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rgbClr val="00CC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7" name="Google Shape;580;p19">
              <a:extLst>
                <a:ext uri="{FF2B5EF4-FFF2-40B4-BE49-F238E27FC236}">
                  <a16:creationId xmlns:a16="http://schemas.microsoft.com/office/drawing/2014/main" id="{F949CEB7-A370-4ADD-AB46-74AB2E1AB491}"/>
                </a:ext>
              </a:extLst>
            </p:cNvPr>
            <p:cNvSpPr/>
            <p:nvPr/>
          </p:nvSpPr>
          <p:spPr>
            <a:xfrm>
              <a:off x="2035" y="1206"/>
              <a:ext cx="15" cy="24"/>
            </a:xfrm>
            <a:custGeom>
              <a:avLst/>
              <a:gdLst/>
              <a:ahLst/>
              <a:cxnLst/>
              <a:rect l="l" t="t" r="r" b="b"/>
              <a:pathLst>
                <a:path w="54" h="91" extrusionOk="0">
                  <a:moveTo>
                    <a:pt x="10" y="0"/>
                  </a:moveTo>
                  <a:lnTo>
                    <a:pt x="37" y="0"/>
                  </a:lnTo>
                  <a:lnTo>
                    <a:pt x="51" y="30"/>
                  </a:lnTo>
                  <a:lnTo>
                    <a:pt x="54" y="59"/>
                  </a:lnTo>
                  <a:lnTo>
                    <a:pt x="46" y="87"/>
                  </a:lnTo>
                  <a:lnTo>
                    <a:pt x="27" y="91"/>
                  </a:lnTo>
                  <a:lnTo>
                    <a:pt x="17" y="88"/>
                  </a:lnTo>
                  <a:lnTo>
                    <a:pt x="11" y="81"/>
                  </a:lnTo>
                  <a:lnTo>
                    <a:pt x="0" y="58"/>
                  </a:lnTo>
                  <a:lnTo>
                    <a:pt x="3" y="16"/>
                  </a:lnTo>
                  <a:lnTo>
                    <a:pt x="10" y="0"/>
                  </a:lnTo>
                </a:path>
              </a:pathLst>
            </a:custGeom>
            <a:solidFill>
              <a:srgbClr val="B9D9E9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8" name="Google Shape;581;p19">
              <a:extLst>
                <a:ext uri="{FF2B5EF4-FFF2-40B4-BE49-F238E27FC236}">
                  <a16:creationId xmlns:a16="http://schemas.microsoft.com/office/drawing/2014/main" id="{9CFA1946-65FE-45A9-AB01-B76F8D884F13}"/>
                </a:ext>
              </a:extLst>
            </p:cNvPr>
            <p:cNvSpPr/>
            <p:nvPr/>
          </p:nvSpPr>
          <p:spPr>
            <a:xfrm>
              <a:off x="2028" y="1232"/>
              <a:ext cx="19" cy="40"/>
            </a:xfrm>
            <a:custGeom>
              <a:avLst/>
              <a:gdLst/>
              <a:ahLst/>
              <a:cxnLst/>
              <a:rect l="l" t="t" r="r" b="b"/>
              <a:pathLst>
                <a:path w="72" h="148" extrusionOk="0">
                  <a:moveTo>
                    <a:pt x="0" y="0"/>
                  </a:moveTo>
                  <a:lnTo>
                    <a:pt x="41" y="16"/>
                  </a:lnTo>
                  <a:lnTo>
                    <a:pt x="64" y="62"/>
                  </a:lnTo>
                  <a:lnTo>
                    <a:pt x="71" y="100"/>
                  </a:lnTo>
                  <a:lnTo>
                    <a:pt x="72" y="130"/>
                  </a:lnTo>
                  <a:lnTo>
                    <a:pt x="65" y="141"/>
                  </a:lnTo>
                  <a:lnTo>
                    <a:pt x="51" y="148"/>
                  </a:lnTo>
                  <a:lnTo>
                    <a:pt x="41" y="141"/>
                  </a:lnTo>
                  <a:lnTo>
                    <a:pt x="20" y="92"/>
                  </a:lnTo>
                  <a:lnTo>
                    <a:pt x="9" y="47"/>
                  </a:lnTo>
                  <a:lnTo>
                    <a:pt x="6" y="1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CC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9" name="Google Shape;582;p19">
              <a:extLst>
                <a:ext uri="{FF2B5EF4-FFF2-40B4-BE49-F238E27FC236}">
                  <a16:creationId xmlns:a16="http://schemas.microsoft.com/office/drawing/2014/main" id="{767F501B-0B73-4C24-BC57-B4855DF5E7FA}"/>
                </a:ext>
              </a:extLst>
            </p:cNvPr>
            <p:cNvSpPr/>
            <p:nvPr/>
          </p:nvSpPr>
          <p:spPr>
            <a:xfrm>
              <a:off x="2028" y="1232"/>
              <a:ext cx="19" cy="40"/>
            </a:xfrm>
            <a:custGeom>
              <a:avLst/>
              <a:gdLst/>
              <a:ahLst/>
              <a:cxnLst/>
              <a:rect l="l" t="t" r="r" b="b"/>
              <a:pathLst>
                <a:path w="72" h="148" extrusionOk="0">
                  <a:moveTo>
                    <a:pt x="0" y="0"/>
                  </a:moveTo>
                  <a:lnTo>
                    <a:pt x="41" y="16"/>
                  </a:lnTo>
                  <a:lnTo>
                    <a:pt x="64" y="62"/>
                  </a:lnTo>
                  <a:lnTo>
                    <a:pt x="71" y="100"/>
                  </a:lnTo>
                  <a:lnTo>
                    <a:pt x="72" y="130"/>
                  </a:lnTo>
                  <a:lnTo>
                    <a:pt x="65" y="141"/>
                  </a:lnTo>
                  <a:lnTo>
                    <a:pt x="51" y="148"/>
                  </a:lnTo>
                  <a:lnTo>
                    <a:pt x="41" y="141"/>
                  </a:lnTo>
                  <a:lnTo>
                    <a:pt x="20" y="92"/>
                  </a:lnTo>
                  <a:lnTo>
                    <a:pt x="9" y="47"/>
                  </a:lnTo>
                  <a:lnTo>
                    <a:pt x="6" y="18"/>
                  </a:lnTo>
                  <a:lnTo>
                    <a:pt x="0" y="0"/>
                  </a:lnTo>
                </a:path>
              </a:pathLst>
            </a:custGeom>
            <a:solidFill>
              <a:srgbClr val="B9D9E9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0" name="Google Shape;583;p19">
              <a:extLst>
                <a:ext uri="{FF2B5EF4-FFF2-40B4-BE49-F238E27FC236}">
                  <a16:creationId xmlns:a16="http://schemas.microsoft.com/office/drawing/2014/main" id="{DBEE1B72-32D1-4D0F-9774-DF3829AE8C84}"/>
                </a:ext>
              </a:extLst>
            </p:cNvPr>
            <p:cNvSpPr/>
            <p:nvPr/>
          </p:nvSpPr>
          <p:spPr>
            <a:xfrm>
              <a:off x="1776" y="738"/>
              <a:ext cx="481" cy="443"/>
            </a:xfrm>
            <a:custGeom>
              <a:avLst/>
              <a:gdLst/>
              <a:ahLst/>
              <a:cxnLst/>
              <a:rect l="l" t="t" r="r" b="b"/>
              <a:pathLst>
                <a:path w="1694" h="1683" extrusionOk="0">
                  <a:moveTo>
                    <a:pt x="1131" y="1683"/>
                  </a:moveTo>
                  <a:lnTo>
                    <a:pt x="1114" y="1676"/>
                  </a:lnTo>
                  <a:lnTo>
                    <a:pt x="1109" y="1653"/>
                  </a:lnTo>
                  <a:lnTo>
                    <a:pt x="1123" y="1619"/>
                  </a:lnTo>
                  <a:lnTo>
                    <a:pt x="1105" y="1568"/>
                  </a:lnTo>
                  <a:lnTo>
                    <a:pt x="1107" y="1540"/>
                  </a:lnTo>
                  <a:lnTo>
                    <a:pt x="1118" y="1485"/>
                  </a:lnTo>
                  <a:lnTo>
                    <a:pt x="1137" y="1466"/>
                  </a:lnTo>
                  <a:lnTo>
                    <a:pt x="1145" y="1394"/>
                  </a:lnTo>
                  <a:lnTo>
                    <a:pt x="1129" y="1378"/>
                  </a:lnTo>
                  <a:lnTo>
                    <a:pt x="1124" y="1354"/>
                  </a:lnTo>
                  <a:lnTo>
                    <a:pt x="1084" y="1355"/>
                  </a:lnTo>
                  <a:lnTo>
                    <a:pt x="1075" y="1348"/>
                  </a:lnTo>
                  <a:lnTo>
                    <a:pt x="1079" y="1313"/>
                  </a:lnTo>
                  <a:lnTo>
                    <a:pt x="1067" y="1281"/>
                  </a:lnTo>
                  <a:lnTo>
                    <a:pt x="1054" y="1269"/>
                  </a:lnTo>
                  <a:lnTo>
                    <a:pt x="1026" y="1262"/>
                  </a:lnTo>
                  <a:lnTo>
                    <a:pt x="1011" y="1240"/>
                  </a:lnTo>
                  <a:lnTo>
                    <a:pt x="1020" y="1210"/>
                  </a:lnTo>
                  <a:lnTo>
                    <a:pt x="1049" y="1189"/>
                  </a:lnTo>
                  <a:lnTo>
                    <a:pt x="1057" y="1175"/>
                  </a:lnTo>
                  <a:lnTo>
                    <a:pt x="1050" y="1158"/>
                  </a:lnTo>
                  <a:lnTo>
                    <a:pt x="1028" y="1155"/>
                  </a:lnTo>
                  <a:lnTo>
                    <a:pt x="998" y="1150"/>
                  </a:lnTo>
                  <a:lnTo>
                    <a:pt x="993" y="1148"/>
                  </a:lnTo>
                  <a:lnTo>
                    <a:pt x="975" y="1122"/>
                  </a:lnTo>
                  <a:lnTo>
                    <a:pt x="949" y="1092"/>
                  </a:lnTo>
                  <a:lnTo>
                    <a:pt x="934" y="1059"/>
                  </a:lnTo>
                  <a:lnTo>
                    <a:pt x="912" y="1023"/>
                  </a:lnTo>
                  <a:lnTo>
                    <a:pt x="921" y="991"/>
                  </a:lnTo>
                  <a:lnTo>
                    <a:pt x="920" y="983"/>
                  </a:lnTo>
                  <a:lnTo>
                    <a:pt x="899" y="958"/>
                  </a:lnTo>
                  <a:lnTo>
                    <a:pt x="897" y="943"/>
                  </a:lnTo>
                  <a:lnTo>
                    <a:pt x="905" y="908"/>
                  </a:lnTo>
                  <a:lnTo>
                    <a:pt x="875" y="881"/>
                  </a:lnTo>
                  <a:lnTo>
                    <a:pt x="857" y="870"/>
                  </a:lnTo>
                  <a:lnTo>
                    <a:pt x="864" y="849"/>
                  </a:lnTo>
                  <a:lnTo>
                    <a:pt x="872" y="843"/>
                  </a:lnTo>
                  <a:lnTo>
                    <a:pt x="871" y="816"/>
                  </a:lnTo>
                  <a:lnTo>
                    <a:pt x="849" y="805"/>
                  </a:lnTo>
                  <a:lnTo>
                    <a:pt x="797" y="820"/>
                  </a:lnTo>
                  <a:lnTo>
                    <a:pt x="693" y="831"/>
                  </a:lnTo>
                  <a:lnTo>
                    <a:pt x="665" y="825"/>
                  </a:lnTo>
                  <a:lnTo>
                    <a:pt x="648" y="840"/>
                  </a:lnTo>
                  <a:lnTo>
                    <a:pt x="635" y="876"/>
                  </a:lnTo>
                  <a:lnTo>
                    <a:pt x="611" y="899"/>
                  </a:lnTo>
                  <a:lnTo>
                    <a:pt x="521" y="925"/>
                  </a:lnTo>
                  <a:lnTo>
                    <a:pt x="413" y="961"/>
                  </a:lnTo>
                  <a:lnTo>
                    <a:pt x="320" y="986"/>
                  </a:lnTo>
                  <a:lnTo>
                    <a:pt x="297" y="984"/>
                  </a:lnTo>
                  <a:lnTo>
                    <a:pt x="266" y="961"/>
                  </a:lnTo>
                  <a:lnTo>
                    <a:pt x="242" y="956"/>
                  </a:lnTo>
                  <a:lnTo>
                    <a:pt x="169" y="958"/>
                  </a:lnTo>
                  <a:lnTo>
                    <a:pt x="153" y="951"/>
                  </a:lnTo>
                  <a:lnTo>
                    <a:pt x="116" y="921"/>
                  </a:lnTo>
                  <a:lnTo>
                    <a:pt x="90" y="915"/>
                  </a:lnTo>
                  <a:lnTo>
                    <a:pt x="55" y="919"/>
                  </a:lnTo>
                  <a:lnTo>
                    <a:pt x="17" y="908"/>
                  </a:lnTo>
                  <a:lnTo>
                    <a:pt x="5" y="893"/>
                  </a:lnTo>
                  <a:lnTo>
                    <a:pt x="0" y="873"/>
                  </a:lnTo>
                  <a:lnTo>
                    <a:pt x="13" y="861"/>
                  </a:lnTo>
                  <a:lnTo>
                    <a:pt x="45" y="843"/>
                  </a:lnTo>
                  <a:lnTo>
                    <a:pt x="72" y="873"/>
                  </a:lnTo>
                  <a:lnTo>
                    <a:pt x="145" y="881"/>
                  </a:lnTo>
                  <a:lnTo>
                    <a:pt x="163" y="895"/>
                  </a:lnTo>
                  <a:lnTo>
                    <a:pt x="178" y="922"/>
                  </a:lnTo>
                  <a:lnTo>
                    <a:pt x="230" y="905"/>
                  </a:lnTo>
                  <a:lnTo>
                    <a:pt x="259" y="900"/>
                  </a:lnTo>
                  <a:lnTo>
                    <a:pt x="283" y="910"/>
                  </a:lnTo>
                  <a:lnTo>
                    <a:pt x="359" y="906"/>
                  </a:lnTo>
                  <a:lnTo>
                    <a:pt x="393" y="884"/>
                  </a:lnTo>
                  <a:lnTo>
                    <a:pt x="420" y="843"/>
                  </a:lnTo>
                  <a:lnTo>
                    <a:pt x="444" y="820"/>
                  </a:lnTo>
                  <a:lnTo>
                    <a:pt x="481" y="818"/>
                  </a:lnTo>
                  <a:lnTo>
                    <a:pt x="545" y="801"/>
                  </a:lnTo>
                  <a:lnTo>
                    <a:pt x="547" y="787"/>
                  </a:lnTo>
                  <a:lnTo>
                    <a:pt x="480" y="779"/>
                  </a:lnTo>
                  <a:lnTo>
                    <a:pt x="467" y="766"/>
                  </a:lnTo>
                  <a:lnTo>
                    <a:pt x="467" y="748"/>
                  </a:lnTo>
                  <a:lnTo>
                    <a:pt x="474" y="733"/>
                  </a:lnTo>
                  <a:lnTo>
                    <a:pt x="465" y="709"/>
                  </a:lnTo>
                  <a:lnTo>
                    <a:pt x="444" y="700"/>
                  </a:lnTo>
                  <a:lnTo>
                    <a:pt x="407" y="708"/>
                  </a:lnTo>
                  <a:lnTo>
                    <a:pt x="394" y="694"/>
                  </a:lnTo>
                  <a:lnTo>
                    <a:pt x="405" y="686"/>
                  </a:lnTo>
                  <a:lnTo>
                    <a:pt x="447" y="670"/>
                  </a:lnTo>
                  <a:lnTo>
                    <a:pt x="440" y="652"/>
                  </a:lnTo>
                  <a:lnTo>
                    <a:pt x="444" y="627"/>
                  </a:lnTo>
                  <a:lnTo>
                    <a:pt x="465" y="610"/>
                  </a:lnTo>
                  <a:lnTo>
                    <a:pt x="492" y="595"/>
                  </a:lnTo>
                  <a:lnTo>
                    <a:pt x="522" y="589"/>
                  </a:lnTo>
                  <a:lnTo>
                    <a:pt x="532" y="567"/>
                  </a:lnTo>
                  <a:lnTo>
                    <a:pt x="493" y="559"/>
                  </a:lnTo>
                  <a:lnTo>
                    <a:pt x="470" y="559"/>
                  </a:lnTo>
                  <a:lnTo>
                    <a:pt x="458" y="548"/>
                  </a:lnTo>
                  <a:lnTo>
                    <a:pt x="480" y="534"/>
                  </a:lnTo>
                  <a:lnTo>
                    <a:pt x="485" y="493"/>
                  </a:lnTo>
                  <a:lnTo>
                    <a:pt x="496" y="478"/>
                  </a:lnTo>
                  <a:lnTo>
                    <a:pt x="511" y="483"/>
                  </a:lnTo>
                  <a:lnTo>
                    <a:pt x="531" y="510"/>
                  </a:lnTo>
                  <a:lnTo>
                    <a:pt x="559" y="510"/>
                  </a:lnTo>
                  <a:lnTo>
                    <a:pt x="569" y="493"/>
                  </a:lnTo>
                  <a:lnTo>
                    <a:pt x="559" y="460"/>
                  </a:lnTo>
                  <a:lnTo>
                    <a:pt x="552" y="424"/>
                  </a:lnTo>
                  <a:lnTo>
                    <a:pt x="555" y="393"/>
                  </a:lnTo>
                  <a:lnTo>
                    <a:pt x="567" y="376"/>
                  </a:lnTo>
                  <a:lnTo>
                    <a:pt x="606" y="361"/>
                  </a:lnTo>
                  <a:lnTo>
                    <a:pt x="718" y="341"/>
                  </a:lnTo>
                  <a:lnTo>
                    <a:pt x="730" y="374"/>
                  </a:lnTo>
                  <a:lnTo>
                    <a:pt x="760" y="371"/>
                  </a:lnTo>
                  <a:lnTo>
                    <a:pt x="772" y="376"/>
                  </a:lnTo>
                  <a:lnTo>
                    <a:pt x="789" y="394"/>
                  </a:lnTo>
                  <a:lnTo>
                    <a:pt x="829" y="400"/>
                  </a:lnTo>
                  <a:lnTo>
                    <a:pt x="872" y="390"/>
                  </a:lnTo>
                  <a:lnTo>
                    <a:pt x="895" y="368"/>
                  </a:lnTo>
                  <a:lnTo>
                    <a:pt x="901" y="335"/>
                  </a:lnTo>
                  <a:lnTo>
                    <a:pt x="942" y="334"/>
                  </a:lnTo>
                  <a:lnTo>
                    <a:pt x="960" y="326"/>
                  </a:lnTo>
                  <a:lnTo>
                    <a:pt x="959" y="309"/>
                  </a:lnTo>
                  <a:lnTo>
                    <a:pt x="923" y="294"/>
                  </a:lnTo>
                  <a:lnTo>
                    <a:pt x="898" y="269"/>
                  </a:lnTo>
                  <a:lnTo>
                    <a:pt x="863" y="216"/>
                  </a:lnTo>
                  <a:lnTo>
                    <a:pt x="863" y="192"/>
                  </a:lnTo>
                  <a:lnTo>
                    <a:pt x="870" y="164"/>
                  </a:lnTo>
                  <a:lnTo>
                    <a:pt x="886" y="177"/>
                  </a:lnTo>
                  <a:lnTo>
                    <a:pt x="904" y="203"/>
                  </a:lnTo>
                  <a:lnTo>
                    <a:pt x="927" y="205"/>
                  </a:lnTo>
                  <a:lnTo>
                    <a:pt x="939" y="187"/>
                  </a:lnTo>
                  <a:lnTo>
                    <a:pt x="939" y="163"/>
                  </a:lnTo>
                  <a:lnTo>
                    <a:pt x="926" y="124"/>
                  </a:lnTo>
                  <a:lnTo>
                    <a:pt x="927" y="85"/>
                  </a:lnTo>
                  <a:lnTo>
                    <a:pt x="947" y="96"/>
                  </a:lnTo>
                  <a:lnTo>
                    <a:pt x="972" y="131"/>
                  </a:lnTo>
                  <a:lnTo>
                    <a:pt x="1005" y="134"/>
                  </a:lnTo>
                  <a:lnTo>
                    <a:pt x="1041" y="146"/>
                  </a:lnTo>
                  <a:lnTo>
                    <a:pt x="1048" y="154"/>
                  </a:lnTo>
                  <a:lnTo>
                    <a:pt x="1059" y="179"/>
                  </a:lnTo>
                  <a:lnTo>
                    <a:pt x="1037" y="199"/>
                  </a:lnTo>
                  <a:lnTo>
                    <a:pt x="1027" y="217"/>
                  </a:lnTo>
                  <a:lnTo>
                    <a:pt x="1037" y="239"/>
                  </a:lnTo>
                  <a:lnTo>
                    <a:pt x="1053" y="250"/>
                  </a:lnTo>
                  <a:lnTo>
                    <a:pt x="1083" y="240"/>
                  </a:lnTo>
                  <a:lnTo>
                    <a:pt x="1118" y="227"/>
                  </a:lnTo>
                  <a:lnTo>
                    <a:pt x="1126" y="210"/>
                  </a:lnTo>
                  <a:lnTo>
                    <a:pt x="1122" y="180"/>
                  </a:lnTo>
                  <a:lnTo>
                    <a:pt x="1101" y="158"/>
                  </a:lnTo>
                  <a:lnTo>
                    <a:pt x="1121" y="131"/>
                  </a:lnTo>
                  <a:lnTo>
                    <a:pt x="1148" y="106"/>
                  </a:lnTo>
                  <a:lnTo>
                    <a:pt x="1160" y="94"/>
                  </a:lnTo>
                  <a:lnTo>
                    <a:pt x="1172" y="61"/>
                  </a:lnTo>
                  <a:lnTo>
                    <a:pt x="1177" y="29"/>
                  </a:lnTo>
                  <a:lnTo>
                    <a:pt x="1194" y="16"/>
                  </a:lnTo>
                  <a:lnTo>
                    <a:pt x="1230" y="0"/>
                  </a:lnTo>
                  <a:lnTo>
                    <a:pt x="1249" y="6"/>
                  </a:lnTo>
                  <a:lnTo>
                    <a:pt x="1260" y="16"/>
                  </a:lnTo>
                  <a:lnTo>
                    <a:pt x="1270" y="45"/>
                  </a:lnTo>
                  <a:lnTo>
                    <a:pt x="1288" y="47"/>
                  </a:lnTo>
                  <a:lnTo>
                    <a:pt x="1362" y="31"/>
                  </a:lnTo>
                  <a:lnTo>
                    <a:pt x="1400" y="32"/>
                  </a:lnTo>
                  <a:lnTo>
                    <a:pt x="1479" y="70"/>
                  </a:lnTo>
                  <a:lnTo>
                    <a:pt x="1535" y="81"/>
                  </a:lnTo>
                  <a:lnTo>
                    <a:pt x="1546" y="90"/>
                  </a:lnTo>
                  <a:lnTo>
                    <a:pt x="1549" y="128"/>
                  </a:lnTo>
                  <a:lnTo>
                    <a:pt x="1572" y="140"/>
                  </a:lnTo>
                  <a:lnTo>
                    <a:pt x="1579" y="158"/>
                  </a:lnTo>
                  <a:lnTo>
                    <a:pt x="1586" y="229"/>
                  </a:lnTo>
                  <a:lnTo>
                    <a:pt x="1599" y="232"/>
                  </a:lnTo>
                  <a:lnTo>
                    <a:pt x="1609" y="245"/>
                  </a:lnTo>
                  <a:lnTo>
                    <a:pt x="1607" y="251"/>
                  </a:lnTo>
                  <a:lnTo>
                    <a:pt x="1581" y="265"/>
                  </a:lnTo>
                  <a:lnTo>
                    <a:pt x="1579" y="283"/>
                  </a:lnTo>
                  <a:lnTo>
                    <a:pt x="1586" y="290"/>
                  </a:lnTo>
                  <a:lnTo>
                    <a:pt x="1620" y="298"/>
                  </a:lnTo>
                  <a:lnTo>
                    <a:pt x="1629" y="324"/>
                  </a:lnTo>
                  <a:lnTo>
                    <a:pt x="1656" y="333"/>
                  </a:lnTo>
                  <a:lnTo>
                    <a:pt x="1674" y="359"/>
                  </a:lnTo>
                  <a:lnTo>
                    <a:pt x="1694" y="427"/>
                  </a:lnTo>
                  <a:lnTo>
                    <a:pt x="1038" y="1085"/>
                  </a:lnTo>
                  <a:lnTo>
                    <a:pt x="1039" y="1105"/>
                  </a:lnTo>
                  <a:lnTo>
                    <a:pt x="1052" y="1131"/>
                  </a:lnTo>
                  <a:lnTo>
                    <a:pt x="1071" y="1160"/>
                  </a:lnTo>
                  <a:lnTo>
                    <a:pt x="1092" y="1214"/>
                  </a:lnTo>
                  <a:lnTo>
                    <a:pt x="1105" y="1275"/>
                  </a:lnTo>
                  <a:lnTo>
                    <a:pt x="1134" y="1303"/>
                  </a:lnTo>
                  <a:lnTo>
                    <a:pt x="1152" y="1328"/>
                  </a:lnTo>
                  <a:lnTo>
                    <a:pt x="1167" y="1354"/>
                  </a:lnTo>
                  <a:lnTo>
                    <a:pt x="1172" y="1381"/>
                  </a:lnTo>
                  <a:lnTo>
                    <a:pt x="1174" y="1415"/>
                  </a:lnTo>
                  <a:lnTo>
                    <a:pt x="1173" y="1458"/>
                  </a:lnTo>
                  <a:lnTo>
                    <a:pt x="1165" y="1489"/>
                  </a:lnTo>
                  <a:lnTo>
                    <a:pt x="1163" y="1528"/>
                  </a:lnTo>
                  <a:lnTo>
                    <a:pt x="1160" y="1562"/>
                  </a:lnTo>
                  <a:lnTo>
                    <a:pt x="1148" y="1599"/>
                  </a:lnTo>
                  <a:lnTo>
                    <a:pt x="1141" y="1629"/>
                  </a:lnTo>
                  <a:lnTo>
                    <a:pt x="1136" y="1659"/>
                  </a:lnTo>
                  <a:lnTo>
                    <a:pt x="1131" y="1683"/>
                  </a:lnTo>
                  <a:close/>
                </a:path>
              </a:pathLst>
            </a:custGeom>
            <a:solidFill>
              <a:srgbClr val="00CC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1" name="Google Shape;584;p19">
              <a:extLst>
                <a:ext uri="{FF2B5EF4-FFF2-40B4-BE49-F238E27FC236}">
                  <a16:creationId xmlns:a16="http://schemas.microsoft.com/office/drawing/2014/main" id="{178D50D1-FBB7-4D9E-B16B-C319B7ED8B70}"/>
                </a:ext>
              </a:extLst>
            </p:cNvPr>
            <p:cNvSpPr/>
            <p:nvPr/>
          </p:nvSpPr>
          <p:spPr>
            <a:xfrm>
              <a:off x="1776" y="738"/>
              <a:ext cx="481" cy="443"/>
            </a:xfrm>
            <a:custGeom>
              <a:avLst/>
              <a:gdLst/>
              <a:ahLst/>
              <a:cxnLst/>
              <a:rect l="l" t="t" r="r" b="b"/>
              <a:pathLst>
                <a:path w="1694" h="1683" extrusionOk="0">
                  <a:moveTo>
                    <a:pt x="1131" y="1683"/>
                  </a:moveTo>
                  <a:lnTo>
                    <a:pt x="1114" y="1676"/>
                  </a:lnTo>
                  <a:lnTo>
                    <a:pt x="1109" y="1653"/>
                  </a:lnTo>
                  <a:lnTo>
                    <a:pt x="1123" y="1619"/>
                  </a:lnTo>
                  <a:lnTo>
                    <a:pt x="1105" y="1568"/>
                  </a:lnTo>
                  <a:lnTo>
                    <a:pt x="1107" y="1540"/>
                  </a:lnTo>
                  <a:lnTo>
                    <a:pt x="1118" y="1485"/>
                  </a:lnTo>
                  <a:lnTo>
                    <a:pt x="1137" y="1466"/>
                  </a:lnTo>
                  <a:lnTo>
                    <a:pt x="1145" y="1394"/>
                  </a:lnTo>
                  <a:lnTo>
                    <a:pt x="1129" y="1378"/>
                  </a:lnTo>
                  <a:lnTo>
                    <a:pt x="1124" y="1354"/>
                  </a:lnTo>
                  <a:lnTo>
                    <a:pt x="1084" y="1355"/>
                  </a:lnTo>
                  <a:lnTo>
                    <a:pt x="1075" y="1348"/>
                  </a:lnTo>
                  <a:lnTo>
                    <a:pt x="1079" y="1313"/>
                  </a:lnTo>
                  <a:lnTo>
                    <a:pt x="1067" y="1281"/>
                  </a:lnTo>
                  <a:lnTo>
                    <a:pt x="1054" y="1269"/>
                  </a:lnTo>
                  <a:lnTo>
                    <a:pt x="1026" y="1262"/>
                  </a:lnTo>
                  <a:lnTo>
                    <a:pt x="1011" y="1240"/>
                  </a:lnTo>
                  <a:lnTo>
                    <a:pt x="1020" y="1210"/>
                  </a:lnTo>
                  <a:lnTo>
                    <a:pt x="1049" y="1189"/>
                  </a:lnTo>
                  <a:lnTo>
                    <a:pt x="1057" y="1175"/>
                  </a:lnTo>
                  <a:lnTo>
                    <a:pt x="1050" y="1158"/>
                  </a:lnTo>
                  <a:lnTo>
                    <a:pt x="1028" y="1155"/>
                  </a:lnTo>
                  <a:lnTo>
                    <a:pt x="998" y="1150"/>
                  </a:lnTo>
                  <a:lnTo>
                    <a:pt x="993" y="1148"/>
                  </a:lnTo>
                  <a:lnTo>
                    <a:pt x="975" y="1122"/>
                  </a:lnTo>
                  <a:lnTo>
                    <a:pt x="949" y="1092"/>
                  </a:lnTo>
                  <a:lnTo>
                    <a:pt x="934" y="1059"/>
                  </a:lnTo>
                  <a:lnTo>
                    <a:pt x="912" y="1023"/>
                  </a:lnTo>
                  <a:lnTo>
                    <a:pt x="921" y="991"/>
                  </a:lnTo>
                  <a:lnTo>
                    <a:pt x="920" y="983"/>
                  </a:lnTo>
                  <a:lnTo>
                    <a:pt x="899" y="958"/>
                  </a:lnTo>
                  <a:lnTo>
                    <a:pt x="897" y="943"/>
                  </a:lnTo>
                  <a:lnTo>
                    <a:pt x="905" y="908"/>
                  </a:lnTo>
                  <a:lnTo>
                    <a:pt x="875" y="881"/>
                  </a:lnTo>
                  <a:lnTo>
                    <a:pt x="857" y="870"/>
                  </a:lnTo>
                  <a:lnTo>
                    <a:pt x="864" y="849"/>
                  </a:lnTo>
                  <a:lnTo>
                    <a:pt x="872" y="843"/>
                  </a:lnTo>
                  <a:lnTo>
                    <a:pt x="871" y="816"/>
                  </a:lnTo>
                  <a:lnTo>
                    <a:pt x="849" y="805"/>
                  </a:lnTo>
                  <a:lnTo>
                    <a:pt x="797" y="820"/>
                  </a:lnTo>
                  <a:lnTo>
                    <a:pt x="693" y="831"/>
                  </a:lnTo>
                  <a:lnTo>
                    <a:pt x="665" y="825"/>
                  </a:lnTo>
                  <a:lnTo>
                    <a:pt x="648" y="840"/>
                  </a:lnTo>
                  <a:lnTo>
                    <a:pt x="635" y="876"/>
                  </a:lnTo>
                  <a:lnTo>
                    <a:pt x="611" y="899"/>
                  </a:lnTo>
                  <a:lnTo>
                    <a:pt x="521" y="925"/>
                  </a:lnTo>
                  <a:lnTo>
                    <a:pt x="413" y="961"/>
                  </a:lnTo>
                  <a:lnTo>
                    <a:pt x="320" y="986"/>
                  </a:lnTo>
                  <a:lnTo>
                    <a:pt x="297" y="984"/>
                  </a:lnTo>
                  <a:lnTo>
                    <a:pt x="266" y="961"/>
                  </a:lnTo>
                  <a:lnTo>
                    <a:pt x="242" y="956"/>
                  </a:lnTo>
                  <a:lnTo>
                    <a:pt x="169" y="958"/>
                  </a:lnTo>
                  <a:lnTo>
                    <a:pt x="153" y="951"/>
                  </a:lnTo>
                  <a:lnTo>
                    <a:pt x="116" y="921"/>
                  </a:lnTo>
                  <a:lnTo>
                    <a:pt x="90" y="915"/>
                  </a:lnTo>
                  <a:lnTo>
                    <a:pt x="55" y="919"/>
                  </a:lnTo>
                  <a:lnTo>
                    <a:pt x="17" y="908"/>
                  </a:lnTo>
                  <a:lnTo>
                    <a:pt x="5" y="893"/>
                  </a:lnTo>
                  <a:lnTo>
                    <a:pt x="0" y="873"/>
                  </a:lnTo>
                  <a:lnTo>
                    <a:pt x="13" y="861"/>
                  </a:lnTo>
                  <a:lnTo>
                    <a:pt x="45" y="843"/>
                  </a:lnTo>
                  <a:lnTo>
                    <a:pt x="72" y="873"/>
                  </a:lnTo>
                  <a:lnTo>
                    <a:pt x="145" y="881"/>
                  </a:lnTo>
                  <a:lnTo>
                    <a:pt x="163" y="895"/>
                  </a:lnTo>
                  <a:lnTo>
                    <a:pt x="178" y="922"/>
                  </a:lnTo>
                  <a:lnTo>
                    <a:pt x="230" y="905"/>
                  </a:lnTo>
                  <a:lnTo>
                    <a:pt x="259" y="900"/>
                  </a:lnTo>
                  <a:lnTo>
                    <a:pt x="283" y="910"/>
                  </a:lnTo>
                  <a:lnTo>
                    <a:pt x="359" y="906"/>
                  </a:lnTo>
                  <a:lnTo>
                    <a:pt x="393" y="884"/>
                  </a:lnTo>
                  <a:lnTo>
                    <a:pt x="420" y="843"/>
                  </a:lnTo>
                  <a:lnTo>
                    <a:pt x="444" y="820"/>
                  </a:lnTo>
                  <a:lnTo>
                    <a:pt x="481" y="818"/>
                  </a:lnTo>
                  <a:lnTo>
                    <a:pt x="545" y="801"/>
                  </a:lnTo>
                  <a:lnTo>
                    <a:pt x="547" y="787"/>
                  </a:lnTo>
                  <a:lnTo>
                    <a:pt x="480" y="779"/>
                  </a:lnTo>
                  <a:lnTo>
                    <a:pt x="467" y="766"/>
                  </a:lnTo>
                  <a:lnTo>
                    <a:pt x="467" y="748"/>
                  </a:lnTo>
                  <a:lnTo>
                    <a:pt x="474" y="733"/>
                  </a:lnTo>
                  <a:lnTo>
                    <a:pt x="465" y="709"/>
                  </a:lnTo>
                  <a:lnTo>
                    <a:pt x="444" y="700"/>
                  </a:lnTo>
                  <a:lnTo>
                    <a:pt x="407" y="708"/>
                  </a:lnTo>
                  <a:lnTo>
                    <a:pt x="394" y="694"/>
                  </a:lnTo>
                  <a:lnTo>
                    <a:pt x="405" y="686"/>
                  </a:lnTo>
                  <a:lnTo>
                    <a:pt x="447" y="670"/>
                  </a:lnTo>
                  <a:lnTo>
                    <a:pt x="440" y="652"/>
                  </a:lnTo>
                  <a:lnTo>
                    <a:pt x="444" y="627"/>
                  </a:lnTo>
                  <a:lnTo>
                    <a:pt x="465" y="610"/>
                  </a:lnTo>
                  <a:lnTo>
                    <a:pt x="492" y="595"/>
                  </a:lnTo>
                  <a:lnTo>
                    <a:pt x="522" y="589"/>
                  </a:lnTo>
                  <a:lnTo>
                    <a:pt x="532" y="567"/>
                  </a:lnTo>
                  <a:lnTo>
                    <a:pt x="493" y="559"/>
                  </a:lnTo>
                  <a:lnTo>
                    <a:pt x="470" y="559"/>
                  </a:lnTo>
                  <a:lnTo>
                    <a:pt x="458" y="548"/>
                  </a:lnTo>
                  <a:lnTo>
                    <a:pt x="480" y="534"/>
                  </a:lnTo>
                  <a:lnTo>
                    <a:pt x="485" y="493"/>
                  </a:lnTo>
                  <a:lnTo>
                    <a:pt x="496" y="478"/>
                  </a:lnTo>
                  <a:lnTo>
                    <a:pt x="511" y="483"/>
                  </a:lnTo>
                  <a:lnTo>
                    <a:pt x="531" y="510"/>
                  </a:lnTo>
                  <a:lnTo>
                    <a:pt x="559" y="510"/>
                  </a:lnTo>
                  <a:lnTo>
                    <a:pt x="569" y="493"/>
                  </a:lnTo>
                  <a:lnTo>
                    <a:pt x="559" y="460"/>
                  </a:lnTo>
                  <a:lnTo>
                    <a:pt x="552" y="424"/>
                  </a:lnTo>
                  <a:lnTo>
                    <a:pt x="555" y="393"/>
                  </a:lnTo>
                  <a:lnTo>
                    <a:pt x="567" y="376"/>
                  </a:lnTo>
                  <a:lnTo>
                    <a:pt x="606" y="361"/>
                  </a:lnTo>
                  <a:lnTo>
                    <a:pt x="718" y="341"/>
                  </a:lnTo>
                  <a:lnTo>
                    <a:pt x="730" y="374"/>
                  </a:lnTo>
                  <a:lnTo>
                    <a:pt x="760" y="371"/>
                  </a:lnTo>
                  <a:lnTo>
                    <a:pt x="772" y="376"/>
                  </a:lnTo>
                  <a:lnTo>
                    <a:pt x="789" y="394"/>
                  </a:lnTo>
                  <a:lnTo>
                    <a:pt x="829" y="400"/>
                  </a:lnTo>
                  <a:lnTo>
                    <a:pt x="872" y="390"/>
                  </a:lnTo>
                  <a:lnTo>
                    <a:pt x="895" y="368"/>
                  </a:lnTo>
                  <a:lnTo>
                    <a:pt x="901" y="335"/>
                  </a:lnTo>
                  <a:lnTo>
                    <a:pt x="942" y="334"/>
                  </a:lnTo>
                  <a:lnTo>
                    <a:pt x="960" y="326"/>
                  </a:lnTo>
                  <a:lnTo>
                    <a:pt x="959" y="309"/>
                  </a:lnTo>
                  <a:lnTo>
                    <a:pt x="923" y="294"/>
                  </a:lnTo>
                  <a:lnTo>
                    <a:pt x="898" y="269"/>
                  </a:lnTo>
                  <a:lnTo>
                    <a:pt x="863" y="216"/>
                  </a:lnTo>
                  <a:lnTo>
                    <a:pt x="863" y="192"/>
                  </a:lnTo>
                  <a:lnTo>
                    <a:pt x="870" y="164"/>
                  </a:lnTo>
                  <a:lnTo>
                    <a:pt x="886" y="177"/>
                  </a:lnTo>
                  <a:lnTo>
                    <a:pt x="904" y="203"/>
                  </a:lnTo>
                  <a:lnTo>
                    <a:pt x="927" y="205"/>
                  </a:lnTo>
                  <a:lnTo>
                    <a:pt x="939" y="187"/>
                  </a:lnTo>
                  <a:lnTo>
                    <a:pt x="939" y="163"/>
                  </a:lnTo>
                  <a:lnTo>
                    <a:pt x="926" y="124"/>
                  </a:lnTo>
                  <a:lnTo>
                    <a:pt x="927" y="85"/>
                  </a:lnTo>
                  <a:lnTo>
                    <a:pt x="947" y="96"/>
                  </a:lnTo>
                  <a:lnTo>
                    <a:pt x="972" y="131"/>
                  </a:lnTo>
                  <a:lnTo>
                    <a:pt x="1005" y="134"/>
                  </a:lnTo>
                  <a:lnTo>
                    <a:pt x="1041" y="146"/>
                  </a:lnTo>
                  <a:lnTo>
                    <a:pt x="1048" y="154"/>
                  </a:lnTo>
                  <a:lnTo>
                    <a:pt x="1059" y="179"/>
                  </a:lnTo>
                  <a:lnTo>
                    <a:pt x="1037" y="199"/>
                  </a:lnTo>
                  <a:lnTo>
                    <a:pt x="1027" y="217"/>
                  </a:lnTo>
                  <a:lnTo>
                    <a:pt x="1037" y="239"/>
                  </a:lnTo>
                  <a:lnTo>
                    <a:pt x="1053" y="250"/>
                  </a:lnTo>
                  <a:lnTo>
                    <a:pt x="1083" y="240"/>
                  </a:lnTo>
                  <a:lnTo>
                    <a:pt x="1118" y="227"/>
                  </a:lnTo>
                  <a:lnTo>
                    <a:pt x="1126" y="210"/>
                  </a:lnTo>
                  <a:lnTo>
                    <a:pt x="1122" y="180"/>
                  </a:lnTo>
                  <a:lnTo>
                    <a:pt x="1101" y="158"/>
                  </a:lnTo>
                  <a:lnTo>
                    <a:pt x="1121" y="131"/>
                  </a:lnTo>
                  <a:lnTo>
                    <a:pt x="1148" y="106"/>
                  </a:lnTo>
                  <a:lnTo>
                    <a:pt x="1160" y="94"/>
                  </a:lnTo>
                  <a:lnTo>
                    <a:pt x="1172" y="61"/>
                  </a:lnTo>
                  <a:lnTo>
                    <a:pt x="1177" y="29"/>
                  </a:lnTo>
                  <a:lnTo>
                    <a:pt x="1194" y="16"/>
                  </a:lnTo>
                  <a:lnTo>
                    <a:pt x="1230" y="0"/>
                  </a:lnTo>
                  <a:lnTo>
                    <a:pt x="1249" y="6"/>
                  </a:lnTo>
                  <a:lnTo>
                    <a:pt x="1260" y="16"/>
                  </a:lnTo>
                  <a:lnTo>
                    <a:pt x="1270" y="45"/>
                  </a:lnTo>
                  <a:lnTo>
                    <a:pt x="1288" y="47"/>
                  </a:lnTo>
                  <a:lnTo>
                    <a:pt x="1362" y="31"/>
                  </a:lnTo>
                  <a:lnTo>
                    <a:pt x="1400" y="32"/>
                  </a:lnTo>
                  <a:lnTo>
                    <a:pt x="1479" y="70"/>
                  </a:lnTo>
                  <a:lnTo>
                    <a:pt x="1535" y="81"/>
                  </a:lnTo>
                  <a:lnTo>
                    <a:pt x="1546" y="90"/>
                  </a:lnTo>
                  <a:lnTo>
                    <a:pt x="1549" y="128"/>
                  </a:lnTo>
                  <a:lnTo>
                    <a:pt x="1572" y="140"/>
                  </a:lnTo>
                  <a:lnTo>
                    <a:pt x="1579" y="158"/>
                  </a:lnTo>
                  <a:lnTo>
                    <a:pt x="1586" y="229"/>
                  </a:lnTo>
                  <a:lnTo>
                    <a:pt x="1599" y="232"/>
                  </a:lnTo>
                  <a:lnTo>
                    <a:pt x="1609" y="245"/>
                  </a:lnTo>
                  <a:lnTo>
                    <a:pt x="1607" y="251"/>
                  </a:lnTo>
                  <a:lnTo>
                    <a:pt x="1581" y="265"/>
                  </a:lnTo>
                  <a:lnTo>
                    <a:pt x="1579" y="283"/>
                  </a:lnTo>
                  <a:lnTo>
                    <a:pt x="1586" y="290"/>
                  </a:lnTo>
                  <a:lnTo>
                    <a:pt x="1620" y="298"/>
                  </a:lnTo>
                  <a:lnTo>
                    <a:pt x="1629" y="324"/>
                  </a:lnTo>
                  <a:lnTo>
                    <a:pt x="1656" y="333"/>
                  </a:lnTo>
                  <a:lnTo>
                    <a:pt x="1674" y="359"/>
                  </a:lnTo>
                  <a:lnTo>
                    <a:pt x="1694" y="427"/>
                  </a:lnTo>
                  <a:lnTo>
                    <a:pt x="1038" y="1085"/>
                  </a:lnTo>
                  <a:lnTo>
                    <a:pt x="1039" y="1105"/>
                  </a:lnTo>
                  <a:lnTo>
                    <a:pt x="1052" y="1131"/>
                  </a:lnTo>
                  <a:lnTo>
                    <a:pt x="1071" y="1160"/>
                  </a:lnTo>
                  <a:lnTo>
                    <a:pt x="1092" y="1214"/>
                  </a:lnTo>
                  <a:lnTo>
                    <a:pt x="1105" y="1275"/>
                  </a:lnTo>
                  <a:lnTo>
                    <a:pt x="1134" y="1303"/>
                  </a:lnTo>
                  <a:lnTo>
                    <a:pt x="1152" y="1328"/>
                  </a:lnTo>
                  <a:lnTo>
                    <a:pt x="1167" y="1354"/>
                  </a:lnTo>
                  <a:lnTo>
                    <a:pt x="1172" y="1381"/>
                  </a:lnTo>
                  <a:lnTo>
                    <a:pt x="1174" y="1415"/>
                  </a:lnTo>
                  <a:lnTo>
                    <a:pt x="1173" y="1458"/>
                  </a:lnTo>
                  <a:lnTo>
                    <a:pt x="1165" y="1489"/>
                  </a:lnTo>
                  <a:lnTo>
                    <a:pt x="1163" y="1528"/>
                  </a:lnTo>
                  <a:lnTo>
                    <a:pt x="1160" y="1562"/>
                  </a:lnTo>
                  <a:lnTo>
                    <a:pt x="1148" y="1599"/>
                  </a:lnTo>
                  <a:lnTo>
                    <a:pt x="1141" y="1629"/>
                  </a:lnTo>
                  <a:lnTo>
                    <a:pt x="1136" y="1659"/>
                  </a:lnTo>
                  <a:lnTo>
                    <a:pt x="1131" y="1683"/>
                  </a:lnTo>
                </a:path>
              </a:pathLst>
            </a:custGeom>
            <a:solidFill>
              <a:srgbClr val="B9D9E9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2" name="Google Shape;585;p19">
              <a:extLst>
                <a:ext uri="{FF2B5EF4-FFF2-40B4-BE49-F238E27FC236}">
                  <a16:creationId xmlns:a16="http://schemas.microsoft.com/office/drawing/2014/main" id="{9C5A1AC7-3095-4EA9-86E0-4A968229B998}"/>
                </a:ext>
              </a:extLst>
            </p:cNvPr>
            <p:cNvSpPr/>
            <p:nvPr/>
          </p:nvSpPr>
          <p:spPr>
            <a:xfrm>
              <a:off x="2013" y="1370"/>
              <a:ext cx="1032" cy="582"/>
            </a:xfrm>
            <a:custGeom>
              <a:avLst/>
              <a:gdLst/>
              <a:ahLst/>
              <a:cxnLst/>
              <a:rect l="l" t="t" r="r" b="b"/>
              <a:pathLst>
                <a:path w="3631" h="2213" extrusionOk="0">
                  <a:moveTo>
                    <a:pt x="2307" y="1776"/>
                  </a:moveTo>
                  <a:lnTo>
                    <a:pt x="2368" y="1761"/>
                  </a:lnTo>
                  <a:lnTo>
                    <a:pt x="2383" y="1774"/>
                  </a:lnTo>
                  <a:lnTo>
                    <a:pt x="2401" y="1778"/>
                  </a:lnTo>
                  <a:lnTo>
                    <a:pt x="2515" y="1759"/>
                  </a:lnTo>
                  <a:lnTo>
                    <a:pt x="2550" y="1782"/>
                  </a:lnTo>
                  <a:lnTo>
                    <a:pt x="2573" y="1816"/>
                  </a:lnTo>
                  <a:lnTo>
                    <a:pt x="2596" y="1824"/>
                  </a:lnTo>
                  <a:lnTo>
                    <a:pt x="2632" y="1817"/>
                  </a:lnTo>
                  <a:lnTo>
                    <a:pt x="2649" y="1789"/>
                  </a:lnTo>
                  <a:lnTo>
                    <a:pt x="2666" y="1776"/>
                  </a:lnTo>
                  <a:lnTo>
                    <a:pt x="2686" y="1782"/>
                  </a:lnTo>
                  <a:lnTo>
                    <a:pt x="2719" y="1803"/>
                  </a:lnTo>
                  <a:lnTo>
                    <a:pt x="2761" y="1840"/>
                  </a:lnTo>
                  <a:lnTo>
                    <a:pt x="2779" y="1869"/>
                  </a:lnTo>
                  <a:lnTo>
                    <a:pt x="2785" y="1897"/>
                  </a:lnTo>
                  <a:lnTo>
                    <a:pt x="2799" y="1947"/>
                  </a:lnTo>
                  <a:lnTo>
                    <a:pt x="2807" y="1950"/>
                  </a:lnTo>
                  <a:lnTo>
                    <a:pt x="2822" y="1944"/>
                  </a:lnTo>
                  <a:lnTo>
                    <a:pt x="2836" y="1953"/>
                  </a:lnTo>
                  <a:lnTo>
                    <a:pt x="2837" y="1966"/>
                  </a:lnTo>
                  <a:lnTo>
                    <a:pt x="2821" y="1987"/>
                  </a:lnTo>
                  <a:lnTo>
                    <a:pt x="2824" y="2001"/>
                  </a:lnTo>
                  <a:lnTo>
                    <a:pt x="2839" y="2028"/>
                  </a:lnTo>
                  <a:lnTo>
                    <a:pt x="2867" y="2034"/>
                  </a:lnTo>
                  <a:lnTo>
                    <a:pt x="2881" y="2047"/>
                  </a:lnTo>
                  <a:lnTo>
                    <a:pt x="2898" y="2088"/>
                  </a:lnTo>
                  <a:lnTo>
                    <a:pt x="2923" y="2111"/>
                  </a:lnTo>
                  <a:lnTo>
                    <a:pt x="2941" y="2131"/>
                  </a:lnTo>
                  <a:lnTo>
                    <a:pt x="2955" y="2163"/>
                  </a:lnTo>
                  <a:lnTo>
                    <a:pt x="2992" y="2179"/>
                  </a:lnTo>
                  <a:lnTo>
                    <a:pt x="3007" y="2176"/>
                  </a:lnTo>
                  <a:lnTo>
                    <a:pt x="3023" y="2144"/>
                  </a:lnTo>
                  <a:lnTo>
                    <a:pt x="3027" y="2114"/>
                  </a:lnTo>
                  <a:lnTo>
                    <a:pt x="3034" y="2062"/>
                  </a:lnTo>
                  <a:lnTo>
                    <a:pt x="3030" y="2028"/>
                  </a:lnTo>
                  <a:lnTo>
                    <a:pt x="3001" y="1952"/>
                  </a:lnTo>
                  <a:lnTo>
                    <a:pt x="2971" y="1900"/>
                  </a:lnTo>
                  <a:lnTo>
                    <a:pt x="2957" y="1854"/>
                  </a:lnTo>
                  <a:lnTo>
                    <a:pt x="2943" y="1804"/>
                  </a:lnTo>
                  <a:lnTo>
                    <a:pt x="2927" y="1763"/>
                  </a:lnTo>
                  <a:lnTo>
                    <a:pt x="2910" y="1729"/>
                  </a:lnTo>
                  <a:lnTo>
                    <a:pt x="2890" y="1702"/>
                  </a:lnTo>
                  <a:lnTo>
                    <a:pt x="2870" y="1673"/>
                  </a:lnTo>
                  <a:lnTo>
                    <a:pt x="2874" y="1643"/>
                  </a:lnTo>
                  <a:lnTo>
                    <a:pt x="2882" y="1608"/>
                  </a:lnTo>
                  <a:lnTo>
                    <a:pt x="2899" y="1576"/>
                  </a:lnTo>
                  <a:lnTo>
                    <a:pt x="2917" y="1549"/>
                  </a:lnTo>
                  <a:lnTo>
                    <a:pt x="2961" y="1532"/>
                  </a:lnTo>
                  <a:lnTo>
                    <a:pt x="2982" y="1515"/>
                  </a:lnTo>
                  <a:lnTo>
                    <a:pt x="3001" y="1484"/>
                  </a:lnTo>
                  <a:lnTo>
                    <a:pt x="3046" y="1421"/>
                  </a:lnTo>
                  <a:lnTo>
                    <a:pt x="3045" y="1410"/>
                  </a:lnTo>
                  <a:lnTo>
                    <a:pt x="3054" y="1393"/>
                  </a:lnTo>
                  <a:lnTo>
                    <a:pt x="3079" y="1397"/>
                  </a:lnTo>
                  <a:lnTo>
                    <a:pt x="3108" y="1370"/>
                  </a:lnTo>
                  <a:lnTo>
                    <a:pt x="3127" y="1330"/>
                  </a:lnTo>
                  <a:lnTo>
                    <a:pt x="3152" y="1306"/>
                  </a:lnTo>
                  <a:lnTo>
                    <a:pt x="3179" y="1300"/>
                  </a:lnTo>
                  <a:lnTo>
                    <a:pt x="3187" y="1274"/>
                  </a:lnTo>
                  <a:lnTo>
                    <a:pt x="3167" y="1258"/>
                  </a:lnTo>
                  <a:lnTo>
                    <a:pt x="3175" y="1241"/>
                  </a:lnTo>
                  <a:lnTo>
                    <a:pt x="3196" y="1234"/>
                  </a:lnTo>
                  <a:lnTo>
                    <a:pt x="3197" y="1215"/>
                  </a:lnTo>
                  <a:lnTo>
                    <a:pt x="3189" y="1196"/>
                  </a:lnTo>
                  <a:lnTo>
                    <a:pt x="3175" y="1192"/>
                  </a:lnTo>
                  <a:lnTo>
                    <a:pt x="3176" y="1178"/>
                  </a:lnTo>
                  <a:lnTo>
                    <a:pt x="3183" y="1168"/>
                  </a:lnTo>
                  <a:lnTo>
                    <a:pt x="3164" y="1124"/>
                  </a:lnTo>
                  <a:lnTo>
                    <a:pt x="3146" y="1100"/>
                  </a:lnTo>
                  <a:lnTo>
                    <a:pt x="3140" y="1072"/>
                  </a:lnTo>
                  <a:lnTo>
                    <a:pt x="3130" y="1045"/>
                  </a:lnTo>
                  <a:lnTo>
                    <a:pt x="3111" y="1020"/>
                  </a:lnTo>
                  <a:lnTo>
                    <a:pt x="3104" y="987"/>
                  </a:lnTo>
                  <a:lnTo>
                    <a:pt x="3112" y="976"/>
                  </a:lnTo>
                  <a:lnTo>
                    <a:pt x="3120" y="969"/>
                  </a:lnTo>
                  <a:lnTo>
                    <a:pt x="3128" y="972"/>
                  </a:lnTo>
                  <a:lnTo>
                    <a:pt x="3145" y="980"/>
                  </a:lnTo>
                  <a:lnTo>
                    <a:pt x="3155" y="1011"/>
                  </a:lnTo>
                  <a:lnTo>
                    <a:pt x="3160" y="1037"/>
                  </a:lnTo>
                  <a:lnTo>
                    <a:pt x="3164" y="1080"/>
                  </a:lnTo>
                  <a:lnTo>
                    <a:pt x="3170" y="1089"/>
                  </a:lnTo>
                  <a:lnTo>
                    <a:pt x="3186" y="1091"/>
                  </a:lnTo>
                  <a:lnTo>
                    <a:pt x="3198" y="1071"/>
                  </a:lnTo>
                  <a:lnTo>
                    <a:pt x="3194" y="1036"/>
                  </a:lnTo>
                  <a:lnTo>
                    <a:pt x="3207" y="1005"/>
                  </a:lnTo>
                  <a:lnTo>
                    <a:pt x="3207" y="980"/>
                  </a:lnTo>
                  <a:lnTo>
                    <a:pt x="3192" y="955"/>
                  </a:lnTo>
                  <a:lnTo>
                    <a:pt x="3183" y="949"/>
                  </a:lnTo>
                  <a:lnTo>
                    <a:pt x="3177" y="918"/>
                  </a:lnTo>
                  <a:lnTo>
                    <a:pt x="3185" y="906"/>
                  </a:lnTo>
                  <a:lnTo>
                    <a:pt x="3196" y="911"/>
                  </a:lnTo>
                  <a:lnTo>
                    <a:pt x="3212" y="936"/>
                  </a:lnTo>
                  <a:lnTo>
                    <a:pt x="3221" y="941"/>
                  </a:lnTo>
                  <a:lnTo>
                    <a:pt x="3237" y="930"/>
                  </a:lnTo>
                  <a:lnTo>
                    <a:pt x="3251" y="912"/>
                  </a:lnTo>
                  <a:lnTo>
                    <a:pt x="3250" y="876"/>
                  </a:lnTo>
                  <a:lnTo>
                    <a:pt x="3272" y="847"/>
                  </a:lnTo>
                  <a:lnTo>
                    <a:pt x="3281" y="816"/>
                  </a:lnTo>
                  <a:lnTo>
                    <a:pt x="3267" y="800"/>
                  </a:lnTo>
                  <a:lnTo>
                    <a:pt x="3272" y="771"/>
                  </a:lnTo>
                  <a:lnTo>
                    <a:pt x="3294" y="739"/>
                  </a:lnTo>
                  <a:lnTo>
                    <a:pt x="3319" y="718"/>
                  </a:lnTo>
                  <a:lnTo>
                    <a:pt x="3346" y="709"/>
                  </a:lnTo>
                  <a:lnTo>
                    <a:pt x="3374" y="682"/>
                  </a:lnTo>
                  <a:lnTo>
                    <a:pt x="3401" y="676"/>
                  </a:lnTo>
                  <a:lnTo>
                    <a:pt x="3428" y="668"/>
                  </a:lnTo>
                  <a:lnTo>
                    <a:pt x="3452" y="650"/>
                  </a:lnTo>
                  <a:lnTo>
                    <a:pt x="3460" y="630"/>
                  </a:lnTo>
                  <a:lnTo>
                    <a:pt x="3451" y="610"/>
                  </a:lnTo>
                  <a:lnTo>
                    <a:pt x="3435" y="599"/>
                  </a:lnTo>
                  <a:lnTo>
                    <a:pt x="3436" y="581"/>
                  </a:lnTo>
                  <a:lnTo>
                    <a:pt x="3443" y="564"/>
                  </a:lnTo>
                  <a:lnTo>
                    <a:pt x="3433" y="523"/>
                  </a:lnTo>
                  <a:lnTo>
                    <a:pt x="3441" y="488"/>
                  </a:lnTo>
                  <a:lnTo>
                    <a:pt x="3467" y="449"/>
                  </a:lnTo>
                  <a:lnTo>
                    <a:pt x="3496" y="429"/>
                  </a:lnTo>
                  <a:lnTo>
                    <a:pt x="3519" y="405"/>
                  </a:lnTo>
                  <a:lnTo>
                    <a:pt x="3550" y="388"/>
                  </a:lnTo>
                  <a:lnTo>
                    <a:pt x="3575" y="375"/>
                  </a:lnTo>
                  <a:lnTo>
                    <a:pt x="3606" y="359"/>
                  </a:lnTo>
                  <a:lnTo>
                    <a:pt x="3625" y="356"/>
                  </a:lnTo>
                  <a:lnTo>
                    <a:pt x="3628" y="350"/>
                  </a:lnTo>
                  <a:lnTo>
                    <a:pt x="3631" y="329"/>
                  </a:lnTo>
                  <a:lnTo>
                    <a:pt x="3624" y="326"/>
                  </a:lnTo>
                  <a:lnTo>
                    <a:pt x="3606" y="315"/>
                  </a:lnTo>
                  <a:lnTo>
                    <a:pt x="3591" y="304"/>
                  </a:lnTo>
                  <a:lnTo>
                    <a:pt x="3567" y="280"/>
                  </a:lnTo>
                  <a:lnTo>
                    <a:pt x="3539" y="228"/>
                  </a:lnTo>
                  <a:lnTo>
                    <a:pt x="3533" y="199"/>
                  </a:lnTo>
                  <a:lnTo>
                    <a:pt x="3507" y="153"/>
                  </a:lnTo>
                  <a:lnTo>
                    <a:pt x="3477" y="148"/>
                  </a:lnTo>
                  <a:lnTo>
                    <a:pt x="3449" y="165"/>
                  </a:lnTo>
                  <a:lnTo>
                    <a:pt x="3427" y="190"/>
                  </a:lnTo>
                  <a:lnTo>
                    <a:pt x="3411" y="218"/>
                  </a:lnTo>
                  <a:lnTo>
                    <a:pt x="3404" y="255"/>
                  </a:lnTo>
                  <a:lnTo>
                    <a:pt x="3398" y="287"/>
                  </a:lnTo>
                  <a:lnTo>
                    <a:pt x="3379" y="322"/>
                  </a:lnTo>
                  <a:lnTo>
                    <a:pt x="3344" y="364"/>
                  </a:lnTo>
                  <a:lnTo>
                    <a:pt x="3297" y="389"/>
                  </a:lnTo>
                  <a:lnTo>
                    <a:pt x="3243" y="396"/>
                  </a:lnTo>
                  <a:lnTo>
                    <a:pt x="3207" y="390"/>
                  </a:lnTo>
                  <a:lnTo>
                    <a:pt x="3169" y="397"/>
                  </a:lnTo>
                  <a:lnTo>
                    <a:pt x="3130" y="420"/>
                  </a:lnTo>
                  <a:lnTo>
                    <a:pt x="3098" y="455"/>
                  </a:lnTo>
                  <a:lnTo>
                    <a:pt x="3075" y="499"/>
                  </a:lnTo>
                  <a:lnTo>
                    <a:pt x="3067" y="531"/>
                  </a:lnTo>
                  <a:lnTo>
                    <a:pt x="3046" y="549"/>
                  </a:lnTo>
                  <a:lnTo>
                    <a:pt x="2950" y="587"/>
                  </a:lnTo>
                  <a:lnTo>
                    <a:pt x="2909" y="609"/>
                  </a:lnTo>
                  <a:lnTo>
                    <a:pt x="2928" y="650"/>
                  </a:lnTo>
                  <a:lnTo>
                    <a:pt x="2881" y="666"/>
                  </a:lnTo>
                  <a:lnTo>
                    <a:pt x="2823" y="692"/>
                  </a:lnTo>
                  <a:lnTo>
                    <a:pt x="2779" y="717"/>
                  </a:lnTo>
                  <a:lnTo>
                    <a:pt x="2733" y="746"/>
                  </a:lnTo>
                  <a:lnTo>
                    <a:pt x="2695" y="768"/>
                  </a:lnTo>
                  <a:lnTo>
                    <a:pt x="2676" y="772"/>
                  </a:lnTo>
                  <a:lnTo>
                    <a:pt x="2658" y="750"/>
                  </a:lnTo>
                  <a:lnTo>
                    <a:pt x="2656" y="740"/>
                  </a:lnTo>
                  <a:lnTo>
                    <a:pt x="2677" y="703"/>
                  </a:lnTo>
                  <a:lnTo>
                    <a:pt x="2688" y="662"/>
                  </a:lnTo>
                  <a:lnTo>
                    <a:pt x="2692" y="614"/>
                  </a:lnTo>
                  <a:lnTo>
                    <a:pt x="2685" y="575"/>
                  </a:lnTo>
                  <a:lnTo>
                    <a:pt x="2667" y="540"/>
                  </a:lnTo>
                  <a:lnTo>
                    <a:pt x="2643" y="483"/>
                  </a:lnTo>
                  <a:lnTo>
                    <a:pt x="2611" y="435"/>
                  </a:lnTo>
                  <a:lnTo>
                    <a:pt x="2574" y="391"/>
                  </a:lnTo>
                  <a:lnTo>
                    <a:pt x="2551" y="367"/>
                  </a:lnTo>
                  <a:lnTo>
                    <a:pt x="2498" y="331"/>
                  </a:lnTo>
                  <a:lnTo>
                    <a:pt x="2435" y="298"/>
                  </a:lnTo>
                  <a:lnTo>
                    <a:pt x="2381" y="260"/>
                  </a:lnTo>
                  <a:lnTo>
                    <a:pt x="2312" y="225"/>
                  </a:lnTo>
                  <a:lnTo>
                    <a:pt x="2299" y="228"/>
                  </a:lnTo>
                  <a:lnTo>
                    <a:pt x="2273" y="248"/>
                  </a:lnTo>
                  <a:lnTo>
                    <a:pt x="2225" y="251"/>
                  </a:lnTo>
                  <a:lnTo>
                    <a:pt x="2182" y="246"/>
                  </a:lnTo>
                  <a:lnTo>
                    <a:pt x="2116" y="248"/>
                  </a:lnTo>
                  <a:lnTo>
                    <a:pt x="2077" y="236"/>
                  </a:lnTo>
                  <a:lnTo>
                    <a:pt x="2052" y="210"/>
                  </a:lnTo>
                  <a:lnTo>
                    <a:pt x="2036" y="206"/>
                  </a:lnTo>
                  <a:lnTo>
                    <a:pt x="1999" y="216"/>
                  </a:lnTo>
                  <a:lnTo>
                    <a:pt x="1543" y="179"/>
                  </a:lnTo>
                  <a:lnTo>
                    <a:pt x="1062" y="120"/>
                  </a:lnTo>
                  <a:lnTo>
                    <a:pt x="658" y="55"/>
                  </a:lnTo>
                  <a:lnTo>
                    <a:pt x="403" y="0"/>
                  </a:lnTo>
                  <a:lnTo>
                    <a:pt x="406" y="32"/>
                  </a:lnTo>
                  <a:lnTo>
                    <a:pt x="406" y="36"/>
                  </a:lnTo>
                  <a:lnTo>
                    <a:pt x="402" y="68"/>
                  </a:lnTo>
                  <a:lnTo>
                    <a:pt x="393" y="98"/>
                  </a:lnTo>
                  <a:lnTo>
                    <a:pt x="380" y="124"/>
                  </a:lnTo>
                  <a:lnTo>
                    <a:pt x="355" y="147"/>
                  </a:lnTo>
                  <a:lnTo>
                    <a:pt x="351" y="148"/>
                  </a:lnTo>
                  <a:lnTo>
                    <a:pt x="328" y="144"/>
                  </a:lnTo>
                  <a:lnTo>
                    <a:pt x="314" y="117"/>
                  </a:lnTo>
                  <a:lnTo>
                    <a:pt x="318" y="94"/>
                  </a:lnTo>
                  <a:lnTo>
                    <a:pt x="332" y="78"/>
                  </a:lnTo>
                  <a:lnTo>
                    <a:pt x="332" y="65"/>
                  </a:lnTo>
                  <a:lnTo>
                    <a:pt x="302" y="36"/>
                  </a:lnTo>
                  <a:lnTo>
                    <a:pt x="279" y="25"/>
                  </a:lnTo>
                  <a:lnTo>
                    <a:pt x="264" y="24"/>
                  </a:lnTo>
                  <a:lnTo>
                    <a:pt x="255" y="43"/>
                  </a:lnTo>
                  <a:lnTo>
                    <a:pt x="258" y="61"/>
                  </a:lnTo>
                  <a:lnTo>
                    <a:pt x="262" y="105"/>
                  </a:lnTo>
                  <a:lnTo>
                    <a:pt x="255" y="135"/>
                  </a:lnTo>
                  <a:lnTo>
                    <a:pt x="251" y="168"/>
                  </a:lnTo>
                  <a:lnTo>
                    <a:pt x="248" y="198"/>
                  </a:lnTo>
                  <a:lnTo>
                    <a:pt x="234" y="229"/>
                  </a:lnTo>
                  <a:lnTo>
                    <a:pt x="220" y="257"/>
                  </a:lnTo>
                  <a:lnTo>
                    <a:pt x="198" y="290"/>
                  </a:lnTo>
                  <a:lnTo>
                    <a:pt x="162" y="326"/>
                  </a:lnTo>
                  <a:lnTo>
                    <a:pt x="145" y="361"/>
                  </a:lnTo>
                  <a:lnTo>
                    <a:pt x="147" y="397"/>
                  </a:lnTo>
                  <a:lnTo>
                    <a:pt x="126" y="439"/>
                  </a:lnTo>
                  <a:lnTo>
                    <a:pt x="110" y="470"/>
                  </a:lnTo>
                  <a:lnTo>
                    <a:pt x="87" y="499"/>
                  </a:lnTo>
                  <a:lnTo>
                    <a:pt x="81" y="521"/>
                  </a:lnTo>
                  <a:lnTo>
                    <a:pt x="88" y="538"/>
                  </a:lnTo>
                  <a:lnTo>
                    <a:pt x="87" y="553"/>
                  </a:lnTo>
                  <a:lnTo>
                    <a:pt x="56" y="629"/>
                  </a:lnTo>
                  <a:lnTo>
                    <a:pt x="38" y="696"/>
                  </a:lnTo>
                  <a:lnTo>
                    <a:pt x="21" y="712"/>
                  </a:lnTo>
                  <a:lnTo>
                    <a:pt x="6" y="726"/>
                  </a:lnTo>
                  <a:lnTo>
                    <a:pt x="0" y="747"/>
                  </a:lnTo>
                  <a:lnTo>
                    <a:pt x="8" y="761"/>
                  </a:lnTo>
                  <a:lnTo>
                    <a:pt x="23" y="815"/>
                  </a:lnTo>
                  <a:lnTo>
                    <a:pt x="21" y="853"/>
                  </a:lnTo>
                  <a:lnTo>
                    <a:pt x="17" y="883"/>
                  </a:lnTo>
                  <a:lnTo>
                    <a:pt x="23" y="912"/>
                  </a:lnTo>
                  <a:lnTo>
                    <a:pt x="33" y="934"/>
                  </a:lnTo>
                  <a:lnTo>
                    <a:pt x="58" y="948"/>
                  </a:lnTo>
                  <a:lnTo>
                    <a:pt x="63" y="967"/>
                  </a:lnTo>
                  <a:lnTo>
                    <a:pt x="54" y="978"/>
                  </a:lnTo>
                  <a:lnTo>
                    <a:pt x="24" y="993"/>
                  </a:lnTo>
                  <a:lnTo>
                    <a:pt x="28" y="1016"/>
                  </a:lnTo>
                  <a:lnTo>
                    <a:pt x="44" y="1043"/>
                  </a:lnTo>
                  <a:lnTo>
                    <a:pt x="53" y="1068"/>
                  </a:lnTo>
                  <a:lnTo>
                    <a:pt x="41" y="1082"/>
                  </a:lnTo>
                  <a:lnTo>
                    <a:pt x="44" y="1122"/>
                  </a:lnTo>
                  <a:lnTo>
                    <a:pt x="85" y="1219"/>
                  </a:lnTo>
                  <a:lnTo>
                    <a:pt x="96" y="1250"/>
                  </a:lnTo>
                  <a:lnTo>
                    <a:pt x="78" y="1270"/>
                  </a:lnTo>
                  <a:lnTo>
                    <a:pt x="85" y="1289"/>
                  </a:lnTo>
                  <a:lnTo>
                    <a:pt x="130" y="1312"/>
                  </a:lnTo>
                  <a:lnTo>
                    <a:pt x="170" y="1356"/>
                  </a:lnTo>
                  <a:lnTo>
                    <a:pt x="229" y="1410"/>
                  </a:lnTo>
                  <a:lnTo>
                    <a:pt x="235" y="1415"/>
                  </a:lnTo>
                  <a:lnTo>
                    <a:pt x="252" y="1455"/>
                  </a:lnTo>
                  <a:lnTo>
                    <a:pt x="272" y="1484"/>
                  </a:lnTo>
                  <a:lnTo>
                    <a:pt x="286" y="1525"/>
                  </a:lnTo>
                  <a:lnTo>
                    <a:pt x="324" y="1523"/>
                  </a:lnTo>
                  <a:lnTo>
                    <a:pt x="362" y="1525"/>
                  </a:lnTo>
                  <a:lnTo>
                    <a:pt x="420" y="1532"/>
                  </a:lnTo>
                  <a:lnTo>
                    <a:pt x="439" y="1549"/>
                  </a:lnTo>
                  <a:lnTo>
                    <a:pt x="463" y="1572"/>
                  </a:lnTo>
                  <a:lnTo>
                    <a:pt x="500" y="1599"/>
                  </a:lnTo>
                  <a:lnTo>
                    <a:pt x="531" y="1609"/>
                  </a:lnTo>
                  <a:lnTo>
                    <a:pt x="565" y="1620"/>
                  </a:lnTo>
                  <a:lnTo>
                    <a:pt x="604" y="1638"/>
                  </a:lnTo>
                  <a:lnTo>
                    <a:pt x="634" y="1646"/>
                  </a:lnTo>
                  <a:lnTo>
                    <a:pt x="664" y="1657"/>
                  </a:lnTo>
                  <a:lnTo>
                    <a:pt x="695" y="1667"/>
                  </a:lnTo>
                  <a:lnTo>
                    <a:pt x="738" y="1672"/>
                  </a:lnTo>
                  <a:lnTo>
                    <a:pt x="772" y="1687"/>
                  </a:lnTo>
                  <a:lnTo>
                    <a:pt x="800" y="1695"/>
                  </a:lnTo>
                  <a:lnTo>
                    <a:pt x="830" y="1698"/>
                  </a:lnTo>
                  <a:lnTo>
                    <a:pt x="857" y="1698"/>
                  </a:lnTo>
                  <a:lnTo>
                    <a:pt x="876" y="1662"/>
                  </a:lnTo>
                  <a:lnTo>
                    <a:pt x="897" y="1653"/>
                  </a:lnTo>
                  <a:lnTo>
                    <a:pt x="934" y="1650"/>
                  </a:lnTo>
                  <a:lnTo>
                    <a:pt x="965" y="1658"/>
                  </a:lnTo>
                  <a:lnTo>
                    <a:pt x="990" y="1663"/>
                  </a:lnTo>
                  <a:lnTo>
                    <a:pt x="999" y="1661"/>
                  </a:lnTo>
                  <a:lnTo>
                    <a:pt x="1039" y="1672"/>
                  </a:lnTo>
                  <a:lnTo>
                    <a:pt x="1068" y="1695"/>
                  </a:lnTo>
                  <a:lnTo>
                    <a:pt x="1091" y="1721"/>
                  </a:lnTo>
                  <a:lnTo>
                    <a:pt x="1105" y="1745"/>
                  </a:lnTo>
                  <a:lnTo>
                    <a:pt x="1126" y="1776"/>
                  </a:lnTo>
                  <a:lnTo>
                    <a:pt x="1145" y="1802"/>
                  </a:lnTo>
                  <a:lnTo>
                    <a:pt x="1159" y="1832"/>
                  </a:lnTo>
                  <a:lnTo>
                    <a:pt x="1176" y="1859"/>
                  </a:lnTo>
                  <a:lnTo>
                    <a:pt x="1206" y="1885"/>
                  </a:lnTo>
                  <a:lnTo>
                    <a:pt x="1229" y="1911"/>
                  </a:lnTo>
                  <a:lnTo>
                    <a:pt x="1263" y="1908"/>
                  </a:lnTo>
                  <a:lnTo>
                    <a:pt x="1273" y="1892"/>
                  </a:lnTo>
                  <a:lnTo>
                    <a:pt x="1296" y="1863"/>
                  </a:lnTo>
                  <a:lnTo>
                    <a:pt x="1321" y="1854"/>
                  </a:lnTo>
                  <a:lnTo>
                    <a:pt x="1365" y="1855"/>
                  </a:lnTo>
                  <a:lnTo>
                    <a:pt x="1377" y="1863"/>
                  </a:lnTo>
                  <a:lnTo>
                    <a:pt x="1415" y="1893"/>
                  </a:lnTo>
                  <a:lnTo>
                    <a:pt x="1429" y="1920"/>
                  </a:lnTo>
                  <a:lnTo>
                    <a:pt x="1444" y="1941"/>
                  </a:lnTo>
                  <a:lnTo>
                    <a:pt x="1508" y="2050"/>
                  </a:lnTo>
                  <a:lnTo>
                    <a:pt x="1519" y="2082"/>
                  </a:lnTo>
                  <a:lnTo>
                    <a:pt x="1547" y="2134"/>
                  </a:lnTo>
                  <a:lnTo>
                    <a:pt x="1615" y="2177"/>
                  </a:lnTo>
                  <a:lnTo>
                    <a:pt x="1629" y="2179"/>
                  </a:lnTo>
                  <a:lnTo>
                    <a:pt x="1664" y="2181"/>
                  </a:lnTo>
                  <a:lnTo>
                    <a:pt x="1668" y="2185"/>
                  </a:lnTo>
                  <a:lnTo>
                    <a:pt x="1687" y="2213"/>
                  </a:lnTo>
                  <a:lnTo>
                    <a:pt x="1692" y="2187"/>
                  </a:lnTo>
                  <a:lnTo>
                    <a:pt x="1686" y="2157"/>
                  </a:lnTo>
                  <a:lnTo>
                    <a:pt x="1672" y="2125"/>
                  </a:lnTo>
                  <a:lnTo>
                    <a:pt x="1670" y="2089"/>
                  </a:lnTo>
                  <a:lnTo>
                    <a:pt x="1681" y="2062"/>
                  </a:lnTo>
                  <a:lnTo>
                    <a:pt x="1704" y="2030"/>
                  </a:lnTo>
                  <a:lnTo>
                    <a:pt x="1731" y="2000"/>
                  </a:lnTo>
                  <a:lnTo>
                    <a:pt x="1764" y="1971"/>
                  </a:lnTo>
                  <a:lnTo>
                    <a:pt x="1804" y="1948"/>
                  </a:lnTo>
                  <a:lnTo>
                    <a:pt x="1862" y="1932"/>
                  </a:lnTo>
                  <a:lnTo>
                    <a:pt x="1874" y="1920"/>
                  </a:lnTo>
                  <a:lnTo>
                    <a:pt x="1869" y="1873"/>
                  </a:lnTo>
                  <a:lnTo>
                    <a:pt x="1870" y="1856"/>
                  </a:lnTo>
                  <a:lnTo>
                    <a:pt x="1878" y="1842"/>
                  </a:lnTo>
                  <a:lnTo>
                    <a:pt x="1896" y="1844"/>
                  </a:lnTo>
                  <a:lnTo>
                    <a:pt x="1903" y="1852"/>
                  </a:lnTo>
                  <a:lnTo>
                    <a:pt x="1914" y="1878"/>
                  </a:lnTo>
                  <a:lnTo>
                    <a:pt x="1946" y="1873"/>
                  </a:lnTo>
                  <a:lnTo>
                    <a:pt x="1982" y="1855"/>
                  </a:lnTo>
                  <a:lnTo>
                    <a:pt x="2017" y="1853"/>
                  </a:lnTo>
                  <a:lnTo>
                    <a:pt x="2058" y="1860"/>
                  </a:lnTo>
                  <a:lnTo>
                    <a:pt x="2084" y="1851"/>
                  </a:lnTo>
                  <a:lnTo>
                    <a:pt x="2107" y="1844"/>
                  </a:lnTo>
                  <a:lnTo>
                    <a:pt x="2128" y="1852"/>
                  </a:lnTo>
                  <a:lnTo>
                    <a:pt x="2135" y="1861"/>
                  </a:lnTo>
                  <a:lnTo>
                    <a:pt x="2145" y="1888"/>
                  </a:lnTo>
                  <a:lnTo>
                    <a:pt x="2150" y="1891"/>
                  </a:lnTo>
                  <a:lnTo>
                    <a:pt x="2180" y="1899"/>
                  </a:lnTo>
                  <a:lnTo>
                    <a:pt x="2208" y="1893"/>
                  </a:lnTo>
                  <a:lnTo>
                    <a:pt x="2263" y="1854"/>
                  </a:lnTo>
                  <a:lnTo>
                    <a:pt x="2289" y="1849"/>
                  </a:lnTo>
                  <a:lnTo>
                    <a:pt x="2292" y="1840"/>
                  </a:lnTo>
                  <a:lnTo>
                    <a:pt x="2287" y="1826"/>
                  </a:lnTo>
                  <a:lnTo>
                    <a:pt x="2271" y="1817"/>
                  </a:lnTo>
                  <a:lnTo>
                    <a:pt x="2221" y="1823"/>
                  </a:lnTo>
                  <a:lnTo>
                    <a:pt x="2210" y="1818"/>
                  </a:lnTo>
                  <a:lnTo>
                    <a:pt x="2216" y="1807"/>
                  </a:lnTo>
                  <a:lnTo>
                    <a:pt x="2232" y="1798"/>
                  </a:lnTo>
                  <a:lnTo>
                    <a:pt x="2307" y="1776"/>
                  </a:lnTo>
                  <a:close/>
                </a:path>
              </a:pathLst>
            </a:custGeom>
            <a:solidFill>
              <a:srgbClr val="00CC00"/>
            </a:solidFill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586;p19">
              <a:extLst>
                <a:ext uri="{FF2B5EF4-FFF2-40B4-BE49-F238E27FC236}">
                  <a16:creationId xmlns:a16="http://schemas.microsoft.com/office/drawing/2014/main" id="{44B7066B-5DB5-4081-9FFA-BB674D37AEBA}"/>
                </a:ext>
              </a:extLst>
            </p:cNvPr>
            <p:cNvSpPr/>
            <p:nvPr/>
          </p:nvSpPr>
          <p:spPr>
            <a:xfrm>
              <a:off x="2013" y="1370"/>
              <a:ext cx="1032" cy="582"/>
            </a:xfrm>
            <a:custGeom>
              <a:avLst/>
              <a:gdLst/>
              <a:ahLst/>
              <a:cxnLst/>
              <a:rect l="l" t="t" r="r" b="b"/>
              <a:pathLst>
                <a:path w="3631" h="2213" extrusionOk="0">
                  <a:moveTo>
                    <a:pt x="2307" y="1776"/>
                  </a:moveTo>
                  <a:lnTo>
                    <a:pt x="2368" y="1761"/>
                  </a:lnTo>
                  <a:lnTo>
                    <a:pt x="2383" y="1774"/>
                  </a:lnTo>
                  <a:lnTo>
                    <a:pt x="2401" y="1778"/>
                  </a:lnTo>
                  <a:lnTo>
                    <a:pt x="2515" y="1759"/>
                  </a:lnTo>
                  <a:lnTo>
                    <a:pt x="2550" y="1782"/>
                  </a:lnTo>
                  <a:lnTo>
                    <a:pt x="2573" y="1816"/>
                  </a:lnTo>
                  <a:lnTo>
                    <a:pt x="2596" y="1824"/>
                  </a:lnTo>
                  <a:lnTo>
                    <a:pt x="2632" y="1817"/>
                  </a:lnTo>
                  <a:lnTo>
                    <a:pt x="2649" y="1789"/>
                  </a:lnTo>
                  <a:lnTo>
                    <a:pt x="2666" y="1776"/>
                  </a:lnTo>
                  <a:lnTo>
                    <a:pt x="2686" y="1782"/>
                  </a:lnTo>
                  <a:lnTo>
                    <a:pt x="2719" y="1803"/>
                  </a:lnTo>
                  <a:lnTo>
                    <a:pt x="2761" y="1840"/>
                  </a:lnTo>
                  <a:lnTo>
                    <a:pt x="2779" y="1869"/>
                  </a:lnTo>
                  <a:lnTo>
                    <a:pt x="2785" y="1897"/>
                  </a:lnTo>
                  <a:lnTo>
                    <a:pt x="2799" y="1947"/>
                  </a:lnTo>
                  <a:lnTo>
                    <a:pt x="2807" y="1950"/>
                  </a:lnTo>
                  <a:lnTo>
                    <a:pt x="2822" y="1944"/>
                  </a:lnTo>
                  <a:lnTo>
                    <a:pt x="2836" y="1953"/>
                  </a:lnTo>
                  <a:lnTo>
                    <a:pt x="2837" y="1966"/>
                  </a:lnTo>
                  <a:lnTo>
                    <a:pt x="2821" y="1987"/>
                  </a:lnTo>
                  <a:lnTo>
                    <a:pt x="2824" y="2001"/>
                  </a:lnTo>
                  <a:lnTo>
                    <a:pt x="2839" y="2028"/>
                  </a:lnTo>
                  <a:lnTo>
                    <a:pt x="2867" y="2034"/>
                  </a:lnTo>
                  <a:lnTo>
                    <a:pt x="2881" y="2047"/>
                  </a:lnTo>
                  <a:lnTo>
                    <a:pt x="2898" y="2088"/>
                  </a:lnTo>
                  <a:lnTo>
                    <a:pt x="2923" y="2111"/>
                  </a:lnTo>
                  <a:lnTo>
                    <a:pt x="2941" y="2131"/>
                  </a:lnTo>
                  <a:lnTo>
                    <a:pt x="2955" y="2163"/>
                  </a:lnTo>
                  <a:lnTo>
                    <a:pt x="2992" y="2179"/>
                  </a:lnTo>
                  <a:lnTo>
                    <a:pt x="3007" y="2176"/>
                  </a:lnTo>
                  <a:lnTo>
                    <a:pt x="3023" y="2144"/>
                  </a:lnTo>
                  <a:lnTo>
                    <a:pt x="3027" y="2114"/>
                  </a:lnTo>
                  <a:lnTo>
                    <a:pt x="3034" y="2062"/>
                  </a:lnTo>
                  <a:lnTo>
                    <a:pt x="3030" y="2028"/>
                  </a:lnTo>
                  <a:lnTo>
                    <a:pt x="3001" y="1952"/>
                  </a:lnTo>
                  <a:lnTo>
                    <a:pt x="2971" y="1900"/>
                  </a:lnTo>
                  <a:lnTo>
                    <a:pt x="2957" y="1854"/>
                  </a:lnTo>
                  <a:lnTo>
                    <a:pt x="2943" y="1804"/>
                  </a:lnTo>
                  <a:lnTo>
                    <a:pt x="2927" y="1763"/>
                  </a:lnTo>
                  <a:lnTo>
                    <a:pt x="2910" y="1729"/>
                  </a:lnTo>
                  <a:lnTo>
                    <a:pt x="2890" y="1702"/>
                  </a:lnTo>
                  <a:lnTo>
                    <a:pt x="2870" y="1673"/>
                  </a:lnTo>
                  <a:lnTo>
                    <a:pt x="2874" y="1643"/>
                  </a:lnTo>
                  <a:lnTo>
                    <a:pt x="2882" y="1608"/>
                  </a:lnTo>
                  <a:lnTo>
                    <a:pt x="2899" y="1576"/>
                  </a:lnTo>
                  <a:lnTo>
                    <a:pt x="2917" y="1549"/>
                  </a:lnTo>
                  <a:lnTo>
                    <a:pt x="2961" y="1532"/>
                  </a:lnTo>
                  <a:lnTo>
                    <a:pt x="2982" y="1515"/>
                  </a:lnTo>
                  <a:lnTo>
                    <a:pt x="3001" y="1484"/>
                  </a:lnTo>
                  <a:lnTo>
                    <a:pt x="3046" y="1421"/>
                  </a:lnTo>
                  <a:lnTo>
                    <a:pt x="3045" y="1410"/>
                  </a:lnTo>
                  <a:lnTo>
                    <a:pt x="3054" y="1393"/>
                  </a:lnTo>
                  <a:lnTo>
                    <a:pt x="3079" y="1397"/>
                  </a:lnTo>
                  <a:lnTo>
                    <a:pt x="3108" y="1370"/>
                  </a:lnTo>
                  <a:lnTo>
                    <a:pt x="3127" y="1330"/>
                  </a:lnTo>
                  <a:lnTo>
                    <a:pt x="3152" y="1306"/>
                  </a:lnTo>
                  <a:lnTo>
                    <a:pt x="3179" y="1300"/>
                  </a:lnTo>
                  <a:lnTo>
                    <a:pt x="3187" y="1274"/>
                  </a:lnTo>
                  <a:lnTo>
                    <a:pt x="3167" y="1258"/>
                  </a:lnTo>
                  <a:lnTo>
                    <a:pt x="3175" y="1241"/>
                  </a:lnTo>
                  <a:lnTo>
                    <a:pt x="3196" y="1234"/>
                  </a:lnTo>
                  <a:lnTo>
                    <a:pt x="3197" y="1215"/>
                  </a:lnTo>
                  <a:lnTo>
                    <a:pt x="3189" y="1196"/>
                  </a:lnTo>
                  <a:lnTo>
                    <a:pt x="3175" y="1192"/>
                  </a:lnTo>
                  <a:lnTo>
                    <a:pt x="3176" y="1178"/>
                  </a:lnTo>
                  <a:lnTo>
                    <a:pt x="3183" y="1168"/>
                  </a:lnTo>
                  <a:lnTo>
                    <a:pt x="3164" y="1124"/>
                  </a:lnTo>
                  <a:lnTo>
                    <a:pt x="3146" y="1100"/>
                  </a:lnTo>
                  <a:lnTo>
                    <a:pt x="3140" y="1072"/>
                  </a:lnTo>
                  <a:lnTo>
                    <a:pt x="3130" y="1045"/>
                  </a:lnTo>
                  <a:lnTo>
                    <a:pt x="3111" y="1020"/>
                  </a:lnTo>
                  <a:lnTo>
                    <a:pt x="3104" y="987"/>
                  </a:lnTo>
                  <a:lnTo>
                    <a:pt x="3112" y="976"/>
                  </a:lnTo>
                  <a:lnTo>
                    <a:pt x="3120" y="969"/>
                  </a:lnTo>
                  <a:lnTo>
                    <a:pt x="3128" y="972"/>
                  </a:lnTo>
                  <a:lnTo>
                    <a:pt x="3145" y="980"/>
                  </a:lnTo>
                  <a:lnTo>
                    <a:pt x="3155" y="1011"/>
                  </a:lnTo>
                  <a:lnTo>
                    <a:pt x="3160" y="1037"/>
                  </a:lnTo>
                  <a:lnTo>
                    <a:pt x="3164" y="1080"/>
                  </a:lnTo>
                  <a:lnTo>
                    <a:pt x="3170" y="1089"/>
                  </a:lnTo>
                  <a:lnTo>
                    <a:pt x="3186" y="1091"/>
                  </a:lnTo>
                  <a:lnTo>
                    <a:pt x="3198" y="1071"/>
                  </a:lnTo>
                  <a:lnTo>
                    <a:pt x="3194" y="1036"/>
                  </a:lnTo>
                  <a:lnTo>
                    <a:pt x="3207" y="1005"/>
                  </a:lnTo>
                  <a:lnTo>
                    <a:pt x="3207" y="980"/>
                  </a:lnTo>
                  <a:lnTo>
                    <a:pt x="3192" y="955"/>
                  </a:lnTo>
                  <a:lnTo>
                    <a:pt x="3183" y="949"/>
                  </a:lnTo>
                  <a:lnTo>
                    <a:pt x="3177" y="918"/>
                  </a:lnTo>
                  <a:lnTo>
                    <a:pt x="3185" y="906"/>
                  </a:lnTo>
                  <a:lnTo>
                    <a:pt x="3196" y="911"/>
                  </a:lnTo>
                  <a:lnTo>
                    <a:pt x="3212" y="936"/>
                  </a:lnTo>
                  <a:lnTo>
                    <a:pt x="3221" y="941"/>
                  </a:lnTo>
                  <a:lnTo>
                    <a:pt x="3237" y="930"/>
                  </a:lnTo>
                  <a:lnTo>
                    <a:pt x="3251" y="912"/>
                  </a:lnTo>
                  <a:lnTo>
                    <a:pt x="3250" y="876"/>
                  </a:lnTo>
                  <a:lnTo>
                    <a:pt x="3272" y="847"/>
                  </a:lnTo>
                  <a:lnTo>
                    <a:pt x="3281" y="816"/>
                  </a:lnTo>
                  <a:lnTo>
                    <a:pt x="3267" y="800"/>
                  </a:lnTo>
                  <a:lnTo>
                    <a:pt x="3272" y="771"/>
                  </a:lnTo>
                  <a:lnTo>
                    <a:pt x="3294" y="739"/>
                  </a:lnTo>
                  <a:lnTo>
                    <a:pt x="3319" y="718"/>
                  </a:lnTo>
                  <a:lnTo>
                    <a:pt x="3346" y="709"/>
                  </a:lnTo>
                  <a:lnTo>
                    <a:pt x="3374" y="682"/>
                  </a:lnTo>
                  <a:lnTo>
                    <a:pt x="3401" y="676"/>
                  </a:lnTo>
                  <a:lnTo>
                    <a:pt x="3428" y="668"/>
                  </a:lnTo>
                  <a:lnTo>
                    <a:pt x="3452" y="650"/>
                  </a:lnTo>
                  <a:lnTo>
                    <a:pt x="3460" y="630"/>
                  </a:lnTo>
                  <a:lnTo>
                    <a:pt x="3451" y="610"/>
                  </a:lnTo>
                  <a:lnTo>
                    <a:pt x="3435" y="599"/>
                  </a:lnTo>
                  <a:lnTo>
                    <a:pt x="3436" y="581"/>
                  </a:lnTo>
                  <a:lnTo>
                    <a:pt x="3443" y="564"/>
                  </a:lnTo>
                  <a:lnTo>
                    <a:pt x="3433" y="523"/>
                  </a:lnTo>
                  <a:lnTo>
                    <a:pt x="3441" y="488"/>
                  </a:lnTo>
                  <a:lnTo>
                    <a:pt x="3467" y="449"/>
                  </a:lnTo>
                  <a:lnTo>
                    <a:pt x="3496" y="429"/>
                  </a:lnTo>
                  <a:lnTo>
                    <a:pt x="3519" y="405"/>
                  </a:lnTo>
                  <a:lnTo>
                    <a:pt x="3550" y="388"/>
                  </a:lnTo>
                  <a:lnTo>
                    <a:pt x="3575" y="375"/>
                  </a:lnTo>
                  <a:lnTo>
                    <a:pt x="3606" y="359"/>
                  </a:lnTo>
                  <a:lnTo>
                    <a:pt x="3625" y="356"/>
                  </a:lnTo>
                  <a:lnTo>
                    <a:pt x="3628" y="350"/>
                  </a:lnTo>
                  <a:lnTo>
                    <a:pt x="3631" y="329"/>
                  </a:lnTo>
                  <a:lnTo>
                    <a:pt x="3624" y="326"/>
                  </a:lnTo>
                  <a:lnTo>
                    <a:pt x="3606" y="315"/>
                  </a:lnTo>
                  <a:lnTo>
                    <a:pt x="3591" y="304"/>
                  </a:lnTo>
                  <a:lnTo>
                    <a:pt x="3567" y="280"/>
                  </a:lnTo>
                  <a:lnTo>
                    <a:pt x="3539" y="228"/>
                  </a:lnTo>
                  <a:lnTo>
                    <a:pt x="3533" y="199"/>
                  </a:lnTo>
                  <a:lnTo>
                    <a:pt x="3507" y="153"/>
                  </a:lnTo>
                  <a:lnTo>
                    <a:pt x="3477" y="148"/>
                  </a:lnTo>
                  <a:lnTo>
                    <a:pt x="3449" y="165"/>
                  </a:lnTo>
                  <a:lnTo>
                    <a:pt x="3427" y="190"/>
                  </a:lnTo>
                  <a:lnTo>
                    <a:pt x="3411" y="218"/>
                  </a:lnTo>
                  <a:lnTo>
                    <a:pt x="3404" y="255"/>
                  </a:lnTo>
                  <a:lnTo>
                    <a:pt x="3398" y="287"/>
                  </a:lnTo>
                  <a:lnTo>
                    <a:pt x="3379" y="322"/>
                  </a:lnTo>
                  <a:lnTo>
                    <a:pt x="3344" y="364"/>
                  </a:lnTo>
                  <a:lnTo>
                    <a:pt x="3297" y="389"/>
                  </a:lnTo>
                  <a:lnTo>
                    <a:pt x="3243" y="396"/>
                  </a:lnTo>
                  <a:lnTo>
                    <a:pt x="3207" y="390"/>
                  </a:lnTo>
                  <a:lnTo>
                    <a:pt x="3169" y="397"/>
                  </a:lnTo>
                  <a:lnTo>
                    <a:pt x="3130" y="420"/>
                  </a:lnTo>
                  <a:lnTo>
                    <a:pt x="3098" y="455"/>
                  </a:lnTo>
                  <a:lnTo>
                    <a:pt x="3075" y="499"/>
                  </a:lnTo>
                  <a:lnTo>
                    <a:pt x="3067" y="531"/>
                  </a:lnTo>
                  <a:lnTo>
                    <a:pt x="3046" y="549"/>
                  </a:lnTo>
                  <a:lnTo>
                    <a:pt x="2950" y="587"/>
                  </a:lnTo>
                  <a:lnTo>
                    <a:pt x="2909" y="609"/>
                  </a:lnTo>
                  <a:lnTo>
                    <a:pt x="2928" y="650"/>
                  </a:lnTo>
                  <a:lnTo>
                    <a:pt x="2881" y="666"/>
                  </a:lnTo>
                  <a:lnTo>
                    <a:pt x="2823" y="692"/>
                  </a:lnTo>
                  <a:lnTo>
                    <a:pt x="2779" y="717"/>
                  </a:lnTo>
                  <a:lnTo>
                    <a:pt x="2733" y="746"/>
                  </a:lnTo>
                  <a:lnTo>
                    <a:pt x="2695" y="768"/>
                  </a:lnTo>
                  <a:lnTo>
                    <a:pt x="2676" y="772"/>
                  </a:lnTo>
                  <a:lnTo>
                    <a:pt x="2658" y="750"/>
                  </a:lnTo>
                  <a:lnTo>
                    <a:pt x="2656" y="740"/>
                  </a:lnTo>
                  <a:lnTo>
                    <a:pt x="2677" y="703"/>
                  </a:lnTo>
                  <a:lnTo>
                    <a:pt x="2688" y="662"/>
                  </a:lnTo>
                  <a:lnTo>
                    <a:pt x="2692" y="614"/>
                  </a:lnTo>
                  <a:lnTo>
                    <a:pt x="2685" y="575"/>
                  </a:lnTo>
                  <a:lnTo>
                    <a:pt x="2667" y="540"/>
                  </a:lnTo>
                  <a:lnTo>
                    <a:pt x="2643" y="483"/>
                  </a:lnTo>
                  <a:lnTo>
                    <a:pt x="2611" y="435"/>
                  </a:lnTo>
                  <a:lnTo>
                    <a:pt x="2574" y="391"/>
                  </a:lnTo>
                  <a:lnTo>
                    <a:pt x="2551" y="367"/>
                  </a:lnTo>
                  <a:lnTo>
                    <a:pt x="2498" y="331"/>
                  </a:lnTo>
                  <a:lnTo>
                    <a:pt x="2435" y="298"/>
                  </a:lnTo>
                  <a:lnTo>
                    <a:pt x="2381" y="260"/>
                  </a:lnTo>
                  <a:lnTo>
                    <a:pt x="2312" y="225"/>
                  </a:lnTo>
                  <a:lnTo>
                    <a:pt x="2299" y="228"/>
                  </a:lnTo>
                  <a:lnTo>
                    <a:pt x="2273" y="248"/>
                  </a:lnTo>
                  <a:lnTo>
                    <a:pt x="2225" y="251"/>
                  </a:lnTo>
                  <a:lnTo>
                    <a:pt x="2182" y="246"/>
                  </a:lnTo>
                  <a:lnTo>
                    <a:pt x="2116" y="248"/>
                  </a:lnTo>
                  <a:lnTo>
                    <a:pt x="2077" y="236"/>
                  </a:lnTo>
                  <a:lnTo>
                    <a:pt x="2052" y="210"/>
                  </a:lnTo>
                  <a:lnTo>
                    <a:pt x="2036" y="206"/>
                  </a:lnTo>
                  <a:lnTo>
                    <a:pt x="1999" y="216"/>
                  </a:lnTo>
                  <a:lnTo>
                    <a:pt x="1543" y="179"/>
                  </a:lnTo>
                  <a:lnTo>
                    <a:pt x="1062" y="120"/>
                  </a:lnTo>
                  <a:lnTo>
                    <a:pt x="658" y="55"/>
                  </a:lnTo>
                  <a:lnTo>
                    <a:pt x="403" y="0"/>
                  </a:lnTo>
                  <a:lnTo>
                    <a:pt x="406" y="32"/>
                  </a:lnTo>
                  <a:lnTo>
                    <a:pt x="406" y="36"/>
                  </a:lnTo>
                  <a:lnTo>
                    <a:pt x="402" y="68"/>
                  </a:lnTo>
                  <a:lnTo>
                    <a:pt x="393" y="98"/>
                  </a:lnTo>
                  <a:lnTo>
                    <a:pt x="380" y="124"/>
                  </a:lnTo>
                  <a:lnTo>
                    <a:pt x="355" y="147"/>
                  </a:lnTo>
                  <a:lnTo>
                    <a:pt x="351" y="148"/>
                  </a:lnTo>
                  <a:lnTo>
                    <a:pt x="328" y="144"/>
                  </a:lnTo>
                  <a:lnTo>
                    <a:pt x="314" y="117"/>
                  </a:lnTo>
                  <a:lnTo>
                    <a:pt x="318" y="94"/>
                  </a:lnTo>
                  <a:lnTo>
                    <a:pt x="332" y="78"/>
                  </a:lnTo>
                  <a:lnTo>
                    <a:pt x="332" y="65"/>
                  </a:lnTo>
                  <a:lnTo>
                    <a:pt x="302" y="36"/>
                  </a:lnTo>
                  <a:lnTo>
                    <a:pt x="279" y="25"/>
                  </a:lnTo>
                  <a:lnTo>
                    <a:pt x="264" y="24"/>
                  </a:lnTo>
                  <a:lnTo>
                    <a:pt x="255" y="43"/>
                  </a:lnTo>
                  <a:lnTo>
                    <a:pt x="258" y="61"/>
                  </a:lnTo>
                  <a:lnTo>
                    <a:pt x="262" y="105"/>
                  </a:lnTo>
                  <a:lnTo>
                    <a:pt x="255" y="135"/>
                  </a:lnTo>
                  <a:lnTo>
                    <a:pt x="251" y="168"/>
                  </a:lnTo>
                  <a:lnTo>
                    <a:pt x="248" y="198"/>
                  </a:lnTo>
                  <a:lnTo>
                    <a:pt x="234" y="229"/>
                  </a:lnTo>
                  <a:lnTo>
                    <a:pt x="220" y="257"/>
                  </a:lnTo>
                  <a:lnTo>
                    <a:pt x="198" y="290"/>
                  </a:lnTo>
                  <a:lnTo>
                    <a:pt x="162" y="326"/>
                  </a:lnTo>
                  <a:lnTo>
                    <a:pt x="145" y="361"/>
                  </a:lnTo>
                  <a:lnTo>
                    <a:pt x="147" y="397"/>
                  </a:lnTo>
                  <a:lnTo>
                    <a:pt x="126" y="439"/>
                  </a:lnTo>
                  <a:lnTo>
                    <a:pt x="110" y="470"/>
                  </a:lnTo>
                  <a:lnTo>
                    <a:pt x="87" y="499"/>
                  </a:lnTo>
                  <a:lnTo>
                    <a:pt x="81" y="521"/>
                  </a:lnTo>
                  <a:lnTo>
                    <a:pt x="88" y="538"/>
                  </a:lnTo>
                  <a:lnTo>
                    <a:pt x="87" y="553"/>
                  </a:lnTo>
                  <a:lnTo>
                    <a:pt x="56" y="629"/>
                  </a:lnTo>
                  <a:lnTo>
                    <a:pt x="38" y="696"/>
                  </a:lnTo>
                  <a:lnTo>
                    <a:pt x="21" y="712"/>
                  </a:lnTo>
                  <a:lnTo>
                    <a:pt x="6" y="726"/>
                  </a:lnTo>
                  <a:lnTo>
                    <a:pt x="0" y="747"/>
                  </a:lnTo>
                  <a:lnTo>
                    <a:pt x="8" y="761"/>
                  </a:lnTo>
                  <a:lnTo>
                    <a:pt x="23" y="815"/>
                  </a:lnTo>
                  <a:lnTo>
                    <a:pt x="21" y="853"/>
                  </a:lnTo>
                  <a:lnTo>
                    <a:pt x="17" y="883"/>
                  </a:lnTo>
                  <a:lnTo>
                    <a:pt x="23" y="912"/>
                  </a:lnTo>
                  <a:lnTo>
                    <a:pt x="33" y="934"/>
                  </a:lnTo>
                  <a:lnTo>
                    <a:pt x="58" y="948"/>
                  </a:lnTo>
                  <a:lnTo>
                    <a:pt x="63" y="967"/>
                  </a:lnTo>
                  <a:lnTo>
                    <a:pt x="54" y="978"/>
                  </a:lnTo>
                  <a:lnTo>
                    <a:pt x="24" y="993"/>
                  </a:lnTo>
                  <a:lnTo>
                    <a:pt x="28" y="1016"/>
                  </a:lnTo>
                  <a:lnTo>
                    <a:pt x="44" y="1043"/>
                  </a:lnTo>
                  <a:lnTo>
                    <a:pt x="53" y="1068"/>
                  </a:lnTo>
                  <a:lnTo>
                    <a:pt x="41" y="1082"/>
                  </a:lnTo>
                  <a:lnTo>
                    <a:pt x="44" y="1122"/>
                  </a:lnTo>
                  <a:lnTo>
                    <a:pt x="85" y="1219"/>
                  </a:lnTo>
                  <a:lnTo>
                    <a:pt x="96" y="1250"/>
                  </a:lnTo>
                  <a:lnTo>
                    <a:pt x="78" y="1270"/>
                  </a:lnTo>
                  <a:lnTo>
                    <a:pt x="85" y="1289"/>
                  </a:lnTo>
                  <a:lnTo>
                    <a:pt x="130" y="1312"/>
                  </a:lnTo>
                  <a:lnTo>
                    <a:pt x="170" y="1356"/>
                  </a:lnTo>
                  <a:lnTo>
                    <a:pt x="229" y="1410"/>
                  </a:lnTo>
                  <a:lnTo>
                    <a:pt x="235" y="1415"/>
                  </a:lnTo>
                  <a:lnTo>
                    <a:pt x="252" y="1455"/>
                  </a:lnTo>
                  <a:lnTo>
                    <a:pt x="272" y="1484"/>
                  </a:lnTo>
                  <a:lnTo>
                    <a:pt x="286" y="1525"/>
                  </a:lnTo>
                  <a:lnTo>
                    <a:pt x="324" y="1523"/>
                  </a:lnTo>
                  <a:lnTo>
                    <a:pt x="362" y="1525"/>
                  </a:lnTo>
                  <a:lnTo>
                    <a:pt x="420" y="1532"/>
                  </a:lnTo>
                  <a:lnTo>
                    <a:pt x="439" y="1549"/>
                  </a:lnTo>
                  <a:lnTo>
                    <a:pt x="463" y="1572"/>
                  </a:lnTo>
                  <a:lnTo>
                    <a:pt x="500" y="1599"/>
                  </a:lnTo>
                  <a:lnTo>
                    <a:pt x="531" y="1609"/>
                  </a:lnTo>
                  <a:lnTo>
                    <a:pt x="565" y="1620"/>
                  </a:lnTo>
                  <a:lnTo>
                    <a:pt x="604" y="1638"/>
                  </a:lnTo>
                  <a:lnTo>
                    <a:pt x="634" y="1646"/>
                  </a:lnTo>
                  <a:lnTo>
                    <a:pt x="664" y="1657"/>
                  </a:lnTo>
                  <a:lnTo>
                    <a:pt x="695" y="1667"/>
                  </a:lnTo>
                  <a:lnTo>
                    <a:pt x="738" y="1672"/>
                  </a:lnTo>
                  <a:lnTo>
                    <a:pt x="772" y="1687"/>
                  </a:lnTo>
                  <a:lnTo>
                    <a:pt x="800" y="1695"/>
                  </a:lnTo>
                  <a:lnTo>
                    <a:pt x="830" y="1698"/>
                  </a:lnTo>
                  <a:lnTo>
                    <a:pt x="857" y="1698"/>
                  </a:lnTo>
                  <a:lnTo>
                    <a:pt x="876" y="1662"/>
                  </a:lnTo>
                  <a:lnTo>
                    <a:pt x="897" y="1653"/>
                  </a:lnTo>
                  <a:lnTo>
                    <a:pt x="934" y="1650"/>
                  </a:lnTo>
                  <a:lnTo>
                    <a:pt x="965" y="1658"/>
                  </a:lnTo>
                  <a:lnTo>
                    <a:pt x="990" y="1663"/>
                  </a:lnTo>
                  <a:lnTo>
                    <a:pt x="999" y="1661"/>
                  </a:lnTo>
                  <a:lnTo>
                    <a:pt x="1039" y="1672"/>
                  </a:lnTo>
                  <a:lnTo>
                    <a:pt x="1068" y="1695"/>
                  </a:lnTo>
                  <a:lnTo>
                    <a:pt x="1091" y="1721"/>
                  </a:lnTo>
                  <a:lnTo>
                    <a:pt x="1105" y="1745"/>
                  </a:lnTo>
                  <a:lnTo>
                    <a:pt x="1126" y="1776"/>
                  </a:lnTo>
                  <a:lnTo>
                    <a:pt x="1145" y="1802"/>
                  </a:lnTo>
                  <a:lnTo>
                    <a:pt x="1159" y="1832"/>
                  </a:lnTo>
                  <a:lnTo>
                    <a:pt x="1176" y="1859"/>
                  </a:lnTo>
                  <a:lnTo>
                    <a:pt x="1206" y="1885"/>
                  </a:lnTo>
                  <a:lnTo>
                    <a:pt x="1229" y="1911"/>
                  </a:lnTo>
                  <a:lnTo>
                    <a:pt x="1263" y="1908"/>
                  </a:lnTo>
                  <a:lnTo>
                    <a:pt x="1273" y="1892"/>
                  </a:lnTo>
                  <a:lnTo>
                    <a:pt x="1296" y="1863"/>
                  </a:lnTo>
                  <a:lnTo>
                    <a:pt x="1321" y="1854"/>
                  </a:lnTo>
                  <a:lnTo>
                    <a:pt x="1365" y="1855"/>
                  </a:lnTo>
                  <a:lnTo>
                    <a:pt x="1377" y="1863"/>
                  </a:lnTo>
                  <a:lnTo>
                    <a:pt x="1415" y="1893"/>
                  </a:lnTo>
                  <a:lnTo>
                    <a:pt x="1429" y="1920"/>
                  </a:lnTo>
                  <a:lnTo>
                    <a:pt x="1444" y="1941"/>
                  </a:lnTo>
                  <a:lnTo>
                    <a:pt x="1508" y="2050"/>
                  </a:lnTo>
                  <a:lnTo>
                    <a:pt x="1519" y="2082"/>
                  </a:lnTo>
                  <a:lnTo>
                    <a:pt x="1547" y="2134"/>
                  </a:lnTo>
                  <a:lnTo>
                    <a:pt x="1615" y="2177"/>
                  </a:lnTo>
                  <a:lnTo>
                    <a:pt x="1629" y="2179"/>
                  </a:lnTo>
                  <a:lnTo>
                    <a:pt x="1664" y="2181"/>
                  </a:lnTo>
                  <a:lnTo>
                    <a:pt x="1668" y="2185"/>
                  </a:lnTo>
                  <a:lnTo>
                    <a:pt x="1687" y="2213"/>
                  </a:lnTo>
                  <a:lnTo>
                    <a:pt x="1692" y="2187"/>
                  </a:lnTo>
                  <a:lnTo>
                    <a:pt x="1686" y="2157"/>
                  </a:lnTo>
                  <a:lnTo>
                    <a:pt x="1672" y="2125"/>
                  </a:lnTo>
                  <a:lnTo>
                    <a:pt x="1670" y="2089"/>
                  </a:lnTo>
                  <a:lnTo>
                    <a:pt x="1681" y="2062"/>
                  </a:lnTo>
                  <a:lnTo>
                    <a:pt x="1704" y="2030"/>
                  </a:lnTo>
                  <a:lnTo>
                    <a:pt x="1731" y="2000"/>
                  </a:lnTo>
                  <a:lnTo>
                    <a:pt x="1764" y="1971"/>
                  </a:lnTo>
                  <a:lnTo>
                    <a:pt x="1804" y="1948"/>
                  </a:lnTo>
                  <a:lnTo>
                    <a:pt x="1862" y="1932"/>
                  </a:lnTo>
                  <a:lnTo>
                    <a:pt x="1874" y="1920"/>
                  </a:lnTo>
                  <a:lnTo>
                    <a:pt x="1869" y="1873"/>
                  </a:lnTo>
                  <a:lnTo>
                    <a:pt x="1870" y="1856"/>
                  </a:lnTo>
                  <a:lnTo>
                    <a:pt x="1878" y="1842"/>
                  </a:lnTo>
                  <a:lnTo>
                    <a:pt x="1896" y="1844"/>
                  </a:lnTo>
                  <a:lnTo>
                    <a:pt x="1903" y="1852"/>
                  </a:lnTo>
                  <a:lnTo>
                    <a:pt x="1914" y="1878"/>
                  </a:lnTo>
                  <a:lnTo>
                    <a:pt x="1946" y="1873"/>
                  </a:lnTo>
                  <a:lnTo>
                    <a:pt x="1982" y="1855"/>
                  </a:lnTo>
                  <a:lnTo>
                    <a:pt x="2017" y="1853"/>
                  </a:lnTo>
                  <a:lnTo>
                    <a:pt x="2058" y="1860"/>
                  </a:lnTo>
                  <a:lnTo>
                    <a:pt x="2084" y="1851"/>
                  </a:lnTo>
                  <a:lnTo>
                    <a:pt x="2107" y="1844"/>
                  </a:lnTo>
                  <a:lnTo>
                    <a:pt x="2128" y="1852"/>
                  </a:lnTo>
                  <a:lnTo>
                    <a:pt x="2135" y="1861"/>
                  </a:lnTo>
                  <a:lnTo>
                    <a:pt x="2145" y="1888"/>
                  </a:lnTo>
                  <a:lnTo>
                    <a:pt x="2150" y="1891"/>
                  </a:lnTo>
                  <a:lnTo>
                    <a:pt x="2180" y="1899"/>
                  </a:lnTo>
                  <a:lnTo>
                    <a:pt x="2208" y="1893"/>
                  </a:lnTo>
                  <a:lnTo>
                    <a:pt x="2263" y="1854"/>
                  </a:lnTo>
                  <a:lnTo>
                    <a:pt x="2289" y="1849"/>
                  </a:lnTo>
                  <a:lnTo>
                    <a:pt x="2292" y="1840"/>
                  </a:lnTo>
                  <a:lnTo>
                    <a:pt x="2287" y="1826"/>
                  </a:lnTo>
                  <a:lnTo>
                    <a:pt x="2271" y="1817"/>
                  </a:lnTo>
                  <a:lnTo>
                    <a:pt x="2221" y="1823"/>
                  </a:lnTo>
                  <a:lnTo>
                    <a:pt x="2210" y="1818"/>
                  </a:lnTo>
                  <a:lnTo>
                    <a:pt x="2216" y="1807"/>
                  </a:lnTo>
                  <a:lnTo>
                    <a:pt x="2232" y="1798"/>
                  </a:lnTo>
                  <a:lnTo>
                    <a:pt x="2307" y="1776"/>
                  </a:lnTo>
                </a:path>
              </a:pathLst>
            </a:custGeom>
            <a:solidFill>
              <a:srgbClr val="B9D9E9"/>
            </a:solidFill>
            <a:ln w="12700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4" name="Google Shape;587;p19">
              <a:extLst>
                <a:ext uri="{FF2B5EF4-FFF2-40B4-BE49-F238E27FC236}">
                  <a16:creationId xmlns:a16="http://schemas.microsoft.com/office/drawing/2014/main" id="{5F7EF09F-1FFE-4387-94E3-D64B8B48A52F}"/>
                </a:ext>
              </a:extLst>
            </p:cNvPr>
            <p:cNvSpPr/>
            <p:nvPr/>
          </p:nvSpPr>
          <p:spPr>
            <a:xfrm>
              <a:off x="1887" y="1005"/>
              <a:ext cx="36" cy="25"/>
            </a:xfrm>
            <a:custGeom>
              <a:avLst/>
              <a:gdLst/>
              <a:ahLst/>
              <a:cxnLst/>
              <a:rect l="l" t="t" r="r" b="b"/>
              <a:pathLst>
                <a:path w="128" h="95" extrusionOk="0">
                  <a:moveTo>
                    <a:pt x="37" y="2"/>
                  </a:moveTo>
                  <a:lnTo>
                    <a:pt x="70" y="10"/>
                  </a:lnTo>
                  <a:lnTo>
                    <a:pt x="93" y="0"/>
                  </a:lnTo>
                  <a:lnTo>
                    <a:pt x="111" y="3"/>
                  </a:lnTo>
                  <a:lnTo>
                    <a:pt x="128" y="15"/>
                  </a:lnTo>
                  <a:lnTo>
                    <a:pt x="128" y="33"/>
                  </a:lnTo>
                  <a:lnTo>
                    <a:pt x="113" y="55"/>
                  </a:lnTo>
                  <a:lnTo>
                    <a:pt x="74" y="62"/>
                  </a:lnTo>
                  <a:lnTo>
                    <a:pt x="51" y="74"/>
                  </a:lnTo>
                  <a:lnTo>
                    <a:pt x="44" y="87"/>
                  </a:lnTo>
                  <a:lnTo>
                    <a:pt x="25" y="95"/>
                  </a:lnTo>
                  <a:lnTo>
                    <a:pt x="6" y="84"/>
                  </a:lnTo>
                  <a:lnTo>
                    <a:pt x="0" y="46"/>
                  </a:lnTo>
                  <a:lnTo>
                    <a:pt x="15" y="13"/>
                  </a:lnTo>
                  <a:lnTo>
                    <a:pt x="37" y="2"/>
                  </a:lnTo>
                  <a:close/>
                </a:path>
              </a:pathLst>
            </a:custGeom>
            <a:solidFill>
              <a:srgbClr val="00CC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5" name="Google Shape;588;p19">
              <a:extLst>
                <a:ext uri="{FF2B5EF4-FFF2-40B4-BE49-F238E27FC236}">
                  <a16:creationId xmlns:a16="http://schemas.microsoft.com/office/drawing/2014/main" id="{BE71B63F-005C-47D2-98AE-505F1280CAA7}"/>
                </a:ext>
              </a:extLst>
            </p:cNvPr>
            <p:cNvSpPr/>
            <p:nvPr/>
          </p:nvSpPr>
          <p:spPr>
            <a:xfrm>
              <a:off x="1887" y="1005"/>
              <a:ext cx="36" cy="25"/>
            </a:xfrm>
            <a:custGeom>
              <a:avLst/>
              <a:gdLst/>
              <a:ahLst/>
              <a:cxnLst/>
              <a:rect l="l" t="t" r="r" b="b"/>
              <a:pathLst>
                <a:path w="128" h="95" extrusionOk="0">
                  <a:moveTo>
                    <a:pt x="37" y="2"/>
                  </a:moveTo>
                  <a:lnTo>
                    <a:pt x="70" y="10"/>
                  </a:lnTo>
                  <a:lnTo>
                    <a:pt x="93" y="0"/>
                  </a:lnTo>
                  <a:lnTo>
                    <a:pt x="111" y="3"/>
                  </a:lnTo>
                  <a:lnTo>
                    <a:pt x="128" y="15"/>
                  </a:lnTo>
                  <a:lnTo>
                    <a:pt x="128" y="33"/>
                  </a:lnTo>
                  <a:lnTo>
                    <a:pt x="113" y="55"/>
                  </a:lnTo>
                  <a:lnTo>
                    <a:pt x="74" y="62"/>
                  </a:lnTo>
                  <a:lnTo>
                    <a:pt x="51" y="74"/>
                  </a:lnTo>
                  <a:lnTo>
                    <a:pt x="44" y="87"/>
                  </a:lnTo>
                  <a:lnTo>
                    <a:pt x="25" y="95"/>
                  </a:lnTo>
                  <a:lnTo>
                    <a:pt x="6" y="84"/>
                  </a:lnTo>
                  <a:lnTo>
                    <a:pt x="0" y="46"/>
                  </a:lnTo>
                  <a:lnTo>
                    <a:pt x="15" y="13"/>
                  </a:lnTo>
                  <a:lnTo>
                    <a:pt x="37" y="2"/>
                  </a:lnTo>
                </a:path>
              </a:pathLst>
            </a:custGeom>
            <a:solidFill>
              <a:srgbClr val="B9D9E9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6" name="Google Shape;589;p19">
              <a:extLst>
                <a:ext uri="{FF2B5EF4-FFF2-40B4-BE49-F238E27FC236}">
                  <a16:creationId xmlns:a16="http://schemas.microsoft.com/office/drawing/2014/main" id="{32232653-64F1-41F5-A094-CD18E2CD5234}"/>
                </a:ext>
              </a:extLst>
            </p:cNvPr>
            <p:cNvSpPr/>
            <p:nvPr/>
          </p:nvSpPr>
          <p:spPr>
            <a:xfrm>
              <a:off x="1971" y="963"/>
              <a:ext cx="50" cy="25"/>
            </a:xfrm>
            <a:custGeom>
              <a:avLst/>
              <a:gdLst/>
              <a:ahLst/>
              <a:cxnLst/>
              <a:rect l="l" t="t" r="r" b="b"/>
              <a:pathLst>
                <a:path w="170" h="96" extrusionOk="0">
                  <a:moveTo>
                    <a:pt x="100" y="2"/>
                  </a:moveTo>
                  <a:lnTo>
                    <a:pt x="119" y="0"/>
                  </a:lnTo>
                  <a:lnTo>
                    <a:pt x="135" y="17"/>
                  </a:lnTo>
                  <a:lnTo>
                    <a:pt x="159" y="37"/>
                  </a:lnTo>
                  <a:lnTo>
                    <a:pt x="168" y="63"/>
                  </a:lnTo>
                  <a:lnTo>
                    <a:pt x="170" y="83"/>
                  </a:lnTo>
                  <a:lnTo>
                    <a:pt x="151" y="94"/>
                  </a:lnTo>
                  <a:lnTo>
                    <a:pt x="118" y="96"/>
                  </a:lnTo>
                  <a:lnTo>
                    <a:pt x="99" y="91"/>
                  </a:lnTo>
                  <a:lnTo>
                    <a:pt x="69" y="72"/>
                  </a:lnTo>
                  <a:lnTo>
                    <a:pt x="30" y="84"/>
                  </a:lnTo>
                  <a:lnTo>
                    <a:pt x="10" y="83"/>
                  </a:lnTo>
                  <a:lnTo>
                    <a:pt x="0" y="63"/>
                  </a:lnTo>
                  <a:lnTo>
                    <a:pt x="7" y="47"/>
                  </a:lnTo>
                  <a:lnTo>
                    <a:pt x="19" y="40"/>
                  </a:lnTo>
                  <a:lnTo>
                    <a:pt x="43" y="20"/>
                  </a:lnTo>
                  <a:lnTo>
                    <a:pt x="71" y="10"/>
                  </a:lnTo>
                  <a:lnTo>
                    <a:pt x="100" y="2"/>
                  </a:lnTo>
                  <a:close/>
                </a:path>
              </a:pathLst>
            </a:custGeom>
            <a:solidFill>
              <a:srgbClr val="00CC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7" name="Google Shape;590;p19">
              <a:extLst>
                <a:ext uri="{FF2B5EF4-FFF2-40B4-BE49-F238E27FC236}">
                  <a16:creationId xmlns:a16="http://schemas.microsoft.com/office/drawing/2014/main" id="{DFBCA332-15C6-4343-8D43-7EAC712F27C9}"/>
                </a:ext>
              </a:extLst>
            </p:cNvPr>
            <p:cNvSpPr/>
            <p:nvPr/>
          </p:nvSpPr>
          <p:spPr>
            <a:xfrm>
              <a:off x="1971" y="963"/>
              <a:ext cx="50" cy="25"/>
            </a:xfrm>
            <a:custGeom>
              <a:avLst/>
              <a:gdLst/>
              <a:ahLst/>
              <a:cxnLst/>
              <a:rect l="l" t="t" r="r" b="b"/>
              <a:pathLst>
                <a:path w="170" h="96" extrusionOk="0">
                  <a:moveTo>
                    <a:pt x="100" y="2"/>
                  </a:moveTo>
                  <a:lnTo>
                    <a:pt x="119" y="0"/>
                  </a:lnTo>
                  <a:lnTo>
                    <a:pt x="135" y="17"/>
                  </a:lnTo>
                  <a:lnTo>
                    <a:pt x="159" y="37"/>
                  </a:lnTo>
                  <a:lnTo>
                    <a:pt x="168" y="63"/>
                  </a:lnTo>
                  <a:lnTo>
                    <a:pt x="170" y="83"/>
                  </a:lnTo>
                  <a:lnTo>
                    <a:pt x="151" y="94"/>
                  </a:lnTo>
                  <a:lnTo>
                    <a:pt x="118" y="96"/>
                  </a:lnTo>
                  <a:lnTo>
                    <a:pt x="99" y="91"/>
                  </a:lnTo>
                  <a:lnTo>
                    <a:pt x="69" y="72"/>
                  </a:lnTo>
                  <a:lnTo>
                    <a:pt x="30" y="84"/>
                  </a:lnTo>
                  <a:lnTo>
                    <a:pt x="10" y="83"/>
                  </a:lnTo>
                  <a:lnTo>
                    <a:pt x="0" y="63"/>
                  </a:lnTo>
                  <a:lnTo>
                    <a:pt x="7" y="47"/>
                  </a:lnTo>
                  <a:lnTo>
                    <a:pt x="19" y="40"/>
                  </a:lnTo>
                  <a:lnTo>
                    <a:pt x="43" y="20"/>
                  </a:lnTo>
                  <a:lnTo>
                    <a:pt x="71" y="10"/>
                  </a:lnTo>
                  <a:lnTo>
                    <a:pt x="100" y="2"/>
                  </a:lnTo>
                </a:path>
              </a:pathLst>
            </a:custGeom>
            <a:solidFill>
              <a:srgbClr val="B9D9E9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8" name="Google Shape;591;p19">
              <a:extLst>
                <a:ext uri="{FF2B5EF4-FFF2-40B4-BE49-F238E27FC236}">
                  <a16:creationId xmlns:a16="http://schemas.microsoft.com/office/drawing/2014/main" id="{5C47ED25-1921-4277-8F1B-8E4BD1B00DB7}"/>
                </a:ext>
              </a:extLst>
            </p:cNvPr>
            <p:cNvSpPr/>
            <p:nvPr/>
          </p:nvSpPr>
          <p:spPr>
            <a:xfrm>
              <a:off x="2900" y="2545"/>
              <a:ext cx="390" cy="459"/>
            </a:xfrm>
            <a:custGeom>
              <a:avLst/>
              <a:gdLst/>
              <a:ahLst/>
              <a:cxnLst/>
              <a:rect l="l" t="t" r="r" b="b"/>
              <a:pathLst>
                <a:path w="1372" h="1745" extrusionOk="0">
                  <a:moveTo>
                    <a:pt x="1194" y="1745"/>
                  </a:moveTo>
                  <a:lnTo>
                    <a:pt x="1168" y="1706"/>
                  </a:lnTo>
                  <a:lnTo>
                    <a:pt x="1148" y="1683"/>
                  </a:lnTo>
                  <a:lnTo>
                    <a:pt x="1097" y="1640"/>
                  </a:lnTo>
                  <a:lnTo>
                    <a:pt x="1047" y="1609"/>
                  </a:lnTo>
                  <a:lnTo>
                    <a:pt x="958" y="1566"/>
                  </a:lnTo>
                  <a:lnTo>
                    <a:pt x="734" y="1474"/>
                  </a:lnTo>
                  <a:lnTo>
                    <a:pt x="632" y="1416"/>
                  </a:lnTo>
                  <a:lnTo>
                    <a:pt x="581" y="1365"/>
                  </a:lnTo>
                  <a:lnTo>
                    <a:pt x="566" y="1334"/>
                  </a:lnTo>
                  <a:lnTo>
                    <a:pt x="562" y="1304"/>
                  </a:lnTo>
                  <a:lnTo>
                    <a:pt x="556" y="1281"/>
                  </a:lnTo>
                  <a:lnTo>
                    <a:pt x="543" y="1268"/>
                  </a:lnTo>
                  <a:lnTo>
                    <a:pt x="513" y="1245"/>
                  </a:lnTo>
                  <a:lnTo>
                    <a:pt x="477" y="1194"/>
                  </a:lnTo>
                  <a:lnTo>
                    <a:pt x="426" y="1121"/>
                  </a:lnTo>
                  <a:lnTo>
                    <a:pt x="411" y="1078"/>
                  </a:lnTo>
                  <a:lnTo>
                    <a:pt x="388" y="1020"/>
                  </a:lnTo>
                  <a:lnTo>
                    <a:pt x="237" y="768"/>
                  </a:lnTo>
                  <a:lnTo>
                    <a:pt x="190" y="707"/>
                  </a:lnTo>
                  <a:lnTo>
                    <a:pt x="147" y="644"/>
                  </a:lnTo>
                  <a:lnTo>
                    <a:pt x="105" y="629"/>
                  </a:lnTo>
                  <a:lnTo>
                    <a:pt x="86" y="606"/>
                  </a:lnTo>
                  <a:lnTo>
                    <a:pt x="70" y="586"/>
                  </a:lnTo>
                  <a:lnTo>
                    <a:pt x="43" y="567"/>
                  </a:lnTo>
                  <a:lnTo>
                    <a:pt x="27" y="563"/>
                  </a:lnTo>
                  <a:lnTo>
                    <a:pt x="20" y="548"/>
                  </a:lnTo>
                  <a:lnTo>
                    <a:pt x="30" y="535"/>
                  </a:lnTo>
                  <a:lnTo>
                    <a:pt x="40" y="524"/>
                  </a:lnTo>
                  <a:lnTo>
                    <a:pt x="35" y="489"/>
                  </a:lnTo>
                  <a:lnTo>
                    <a:pt x="20" y="486"/>
                  </a:lnTo>
                  <a:lnTo>
                    <a:pt x="5" y="481"/>
                  </a:lnTo>
                  <a:lnTo>
                    <a:pt x="0" y="466"/>
                  </a:lnTo>
                  <a:lnTo>
                    <a:pt x="0" y="448"/>
                  </a:lnTo>
                  <a:lnTo>
                    <a:pt x="20" y="361"/>
                  </a:lnTo>
                  <a:lnTo>
                    <a:pt x="55" y="318"/>
                  </a:lnTo>
                  <a:lnTo>
                    <a:pt x="66" y="318"/>
                  </a:lnTo>
                  <a:lnTo>
                    <a:pt x="97" y="346"/>
                  </a:lnTo>
                  <a:lnTo>
                    <a:pt x="109" y="389"/>
                  </a:lnTo>
                  <a:lnTo>
                    <a:pt x="101" y="435"/>
                  </a:lnTo>
                  <a:lnTo>
                    <a:pt x="105" y="458"/>
                  </a:lnTo>
                  <a:lnTo>
                    <a:pt x="124" y="466"/>
                  </a:lnTo>
                  <a:lnTo>
                    <a:pt x="144" y="451"/>
                  </a:lnTo>
                  <a:lnTo>
                    <a:pt x="170" y="463"/>
                  </a:lnTo>
                  <a:lnTo>
                    <a:pt x="182" y="478"/>
                  </a:lnTo>
                  <a:lnTo>
                    <a:pt x="195" y="505"/>
                  </a:lnTo>
                  <a:lnTo>
                    <a:pt x="221" y="509"/>
                  </a:lnTo>
                  <a:lnTo>
                    <a:pt x="256" y="489"/>
                  </a:lnTo>
                  <a:lnTo>
                    <a:pt x="287" y="454"/>
                  </a:lnTo>
                  <a:lnTo>
                    <a:pt x="302" y="395"/>
                  </a:lnTo>
                  <a:lnTo>
                    <a:pt x="310" y="338"/>
                  </a:lnTo>
                  <a:lnTo>
                    <a:pt x="330" y="311"/>
                  </a:lnTo>
                  <a:lnTo>
                    <a:pt x="348" y="295"/>
                  </a:lnTo>
                  <a:lnTo>
                    <a:pt x="426" y="268"/>
                  </a:lnTo>
                  <a:lnTo>
                    <a:pt x="505" y="252"/>
                  </a:lnTo>
                  <a:lnTo>
                    <a:pt x="528" y="233"/>
                  </a:lnTo>
                  <a:lnTo>
                    <a:pt x="539" y="198"/>
                  </a:lnTo>
                  <a:lnTo>
                    <a:pt x="559" y="183"/>
                  </a:lnTo>
                  <a:lnTo>
                    <a:pt x="594" y="164"/>
                  </a:lnTo>
                  <a:lnTo>
                    <a:pt x="610" y="133"/>
                  </a:lnTo>
                  <a:lnTo>
                    <a:pt x="610" y="106"/>
                  </a:lnTo>
                  <a:lnTo>
                    <a:pt x="597" y="62"/>
                  </a:lnTo>
                  <a:lnTo>
                    <a:pt x="577" y="32"/>
                  </a:lnTo>
                  <a:lnTo>
                    <a:pt x="586" y="0"/>
                  </a:lnTo>
                  <a:lnTo>
                    <a:pt x="686" y="62"/>
                  </a:lnTo>
                  <a:lnTo>
                    <a:pt x="780" y="97"/>
                  </a:lnTo>
                  <a:lnTo>
                    <a:pt x="815" y="140"/>
                  </a:lnTo>
                  <a:lnTo>
                    <a:pt x="838" y="191"/>
                  </a:lnTo>
                  <a:lnTo>
                    <a:pt x="856" y="210"/>
                  </a:lnTo>
                  <a:lnTo>
                    <a:pt x="876" y="210"/>
                  </a:lnTo>
                  <a:lnTo>
                    <a:pt x="912" y="191"/>
                  </a:lnTo>
                  <a:lnTo>
                    <a:pt x="953" y="198"/>
                  </a:lnTo>
                  <a:lnTo>
                    <a:pt x="989" y="210"/>
                  </a:lnTo>
                  <a:lnTo>
                    <a:pt x="1009" y="210"/>
                  </a:lnTo>
                  <a:lnTo>
                    <a:pt x="1028" y="210"/>
                  </a:lnTo>
                  <a:lnTo>
                    <a:pt x="1044" y="191"/>
                  </a:lnTo>
                  <a:lnTo>
                    <a:pt x="1077" y="187"/>
                  </a:lnTo>
                  <a:lnTo>
                    <a:pt x="1102" y="187"/>
                  </a:lnTo>
                  <a:lnTo>
                    <a:pt x="1121" y="207"/>
                  </a:lnTo>
                  <a:lnTo>
                    <a:pt x="1151" y="221"/>
                  </a:lnTo>
                  <a:lnTo>
                    <a:pt x="1214" y="225"/>
                  </a:lnTo>
                  <a:lnTo>
                    <a:pt x="1217" y="280"/>
                  </a:lnTo>
                  <a:lnTo>
                    <a:pt x="1199" y="353"/>
                  </a:lnTo>
                  <a:lnTo>
                    <a:pt x="1174" y="380"/>
                  </a:lnTo>
                  <a:lnTo>
                    <a:pt x="1159" y="392"/>
                  </a:lnTo>
                  <a:lnTo>
                    <a:pt x="1148" y="395"/>
                  </a:lnTo>
                  <a:lnTo>
                    <a:pt x="1055" y="395"/>
                  </a:lnTo>
                  <a:lnTo>
                    <a:pt x="1009" y="405"/>
                  </a:lnTo>
                  <a:lnTo>
                    <a:pt x="970" y="428"/>
                  </a:lnTo>
                  <a:lnTo>
                    <a:pt x="938" y="454"/>
                  </a:lnTo>
                  <a:lnTo>
                    <a:pt x="892" y="473"/>
                  </a:lnTo>
                  <a:lnTo>
                    <a:pt x="876" y="516"/>
                  </a:lnTo>
                  <a:lnTo>
                    <a:pt x="884" y="574"/>
                  </a:lnTo>
                  <a:lnTo>
                    <a:pt x="899" y="613"/>
                  </a:lnTo>
                  <a:lnTo>
                    <a:pt x="892" y="625"/>
                  </a:lnTo>
                  <a:lnTo>
                    <a:pt x="861" y="633"/>
                  </a:lnTo>
                  <a:lnTo>
                    <a:pt x="818" y="644"/>
                  </a:lnTo>
                  <a:lnTo>
                    <a:pt x="795" y="675"/>
                  </a:lnTo>
                  <a:lnTo>
                    <a:pt x="788" y="725"/>
                  </a:lnTo>
                  <a:lnTo>
                    <a:pt x="802" y="776"/>
                  </a:lnTo>
                  <a:lnTo>
                    <a:pt x="831" y="804"/>
                  </a:lnTo>
                  <a:lnTo>
                    <a:pt x="876" y="814"/>
                  </a:lnTo>
                  <a:lnTo>
                    <a:pt x="889" y="824"/>
                  </a:lnTo>
                  <a:lnTo>
                    <a:pt x="866" y="862"/>
                  </a:lnTo>
                  <a:lnTo>
                    <a:pt x="876" y="888"/>
                  </a:lnTo>
                  <a:lnTo>
                    <a:pt x="904" y="892"/>
                  </a:lnTo>
                  <a:lnTo>
                    <a:pt x="947" y="900"/>
                  </a:lnTo>
                  <a:lnTo>
                    <a:pt x="970" y="944"/>
                  </a:lnTo>
                  <a:lnTo>
                    <a:pt x="1006" y="982"/>
                  </a:lnTo>
                  <a:lnTo>
                    <a:pt x="1063" y="982"/>
                  </a:lnTo>
                  <a:lnTo>
                    <a:pt x="1093" y="944"/>
                  </a:lnTo>
                  <a:lnTo>
                    <a:pt x="1117" y="944"/>
                  </a:lnTo>
                  <a:lnTo>
                    <a:pt x="1132" y="951"/>
                  </a:lnTo>
                  <a:lnTo>
                    <a:pt x="1136" y="989"/>
                  </a:lnTo>
                  <a:lnTo>
                    <a:pt x="1156" y="1045"/>
                  </a:lnTo>
                  <a:lnTo>
                    <a:pt x="1187" y="1067"/>
                  </a:lnTo>
                  <a:lnTo>
                    <a:pt x="1222" y="1052"/>
                  </a:lnTo>
                  <a:lnTo>
                    <a:pt x="1268" y="1045"/>
                  </a:lnTo>
                  <a:lnTo>
                    <a:pt x="1306" y="1083"/>
                  </a:lnTo>
                  <a:lnTo>
                    <a:pt x="1346" y="1156"/>
                  </a:lnTo>
                  <a:lnTo>
                    <a:pt x="1346" y="1194"/>
                  </a:lnTo>
                  <a:lnTo>
                    <a:pt x="1334" y="1226"/>
                  </a:lnTo>
                  <a:lnTo>
                    <a:pt x="1314" y="1256"/>
                  </a:lnTo>
                  <a:lnTo>
                    <a:pt x="1334" y="1320"/>
                  </a:lnTo>
                  <a:lnTo>
                    <a:pt x="1338" y="1354"/>
                  </a:lnTo>
                  <a:lnTo>
                    <a:pt x="1311" y="1404"/>
                  </a:lnTo>
                  <a:lnTo>
                    <a:pt x="1306" y="1447"/>
                  </a:lnTo>
                  <a:lnTo>
                    <a:pt x="1319" y="1485"/>
                  </a:lnTo>
                  <a:lnTo>
                    <a:pt x="1338" y="1509"/>
                  </a:lnTo>
                  <a:lnTo>
                    <a:pt x="1365" y="1544"/>
                  </a:lnTo>
                  <a:lnTo>
                    <a:pt x="1372" y="1575"/>
                  </a:lnTo>
                  <a:lnTo>
                    <a:pt x="1369" y="1599"/>
                  </a:lnTo>
                  <a:lnTo>
                    <a:pt x="1365" y="1602"/>
                  </a:lnTo>
                  <a:lnTo>
                    <a:pt x="1350" y="1609"/>
                  </a:lnTo>
                  <a:lnTo>
                    <a:pt x="1295" y="1617"/>
                  </a:lnTo>
                  <a:lnTo>
                    <a:pt x="1295" y="1672"/>
                  </a:lnTo>
                  <a:lnTo>
                    <a:pt x="1194" y="1745"/>
                  </a:lnTo>
                  <a:close/>
                </a:path>
              </a:pathLst>
            </a:custGeom>
            <a:solidFill>
              <a:srgbClr val="D4F0FB"/>
            </a:solidFill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9" name="Google Shape;592;p19">
              <a:extLst>
                <a:ext uri="{FF2B5EF4-FFF2-40B4-BE49-F238E27FC236}">
                  <a16:creationId xmlns:a16="http://schemas.microsoft.com/office/drawing/2014/main" id="{F1EF7F51-AD74-425C-A5A8-0DEBD8FD0C76}"/>
                </a:ext>
              </a:extLst>
            </p:cNvPr>
            <p:cNvSpPr/>
            <p:nvPr/>
          </p:nvSpPr>
          <p:spPr>
            <a:xfrm>
              <a:off x="3146" y="3352"/>
              <a:ext cx="140" cy="494"/>
            </a:xfrm>
            <a:custGeom>
              <a:avLst/>
              <a:gdLst/>
              <a:ahLst/>
              <a:cxnLst/>
              <a:rect l="l" t="t" r="r" b="b"/>
              <a:pathLst>
                <a:path w="488" h="1879" extrusionOk="0">
                  <a:moveTo>
                    <a:pt x="422" y="0"/>
                  </a:moveTo>
                  <a:lnTo>
                    <a:pt x="425" y="88"/>
                  </a:lnTo>
                  <a:lnTo>
                    <a:pt x="461" y="147"/>
                  </a:lnTo>
                  <a:lnTo>
                    <a:pt x="472" y="170"/>
                  </a:lnTo>
                  <a:lnTo>
                    <a:pt x="476" y="190"/>
                  </a:lnTo>
                  <a:lnTo>
                    <a:pt x="468" y="217"/>
                  </a:lnTo>
                  <a:lnTo>
                    <a:pt x="445" y="255"/>
                  </a:lnTo>
                  <a:lnTo>
                    <a:pt x="445" y="375"/>
                  </a:lnTo>
                  <a:lnTo>
                    <a:pt x="399" y="383"/>
                  </a:lnTo>
                  <a:lnTo>
                    <a:pt x="367" y="403"/>
                  </a:lnTo>
                  <a:lnTo>
                    <a:pt x="356" y="415"/>
                  </a:lnTo>
                  <a:lnTo>
                    <a:pt x="351" y="438"/>
                  </a:lnTo>
                  <a:lnTo>
                    <a:pt x="351" y="453"/>
                  </a:lnTo>
                  <a:lnTo>
                    <a:pt x="364" y="472"/>
                  </a:lnTo>
                  <a:lnTo>
                    <a:pt x="391" y="511"/>
                  </a:lnTo>
                  <a:lnTo>
                    <a:pt x="395" y="558"/>
                  </a:lnTo>
                  <a:lnTo>
                    <a:pt x="371" y="597"/>
                  </a:lnTo>
                  <a:lnTo>
                    <a:pt x="336" y="627"/>
                  </a:lnTo>
                  <a:lnTo>
                    <a:pt x="325" y="659"/>
                  </a:lnTo>
                  <a:lnTo>
                    <a:pt x="318" y="701"/>
                  </a:lnTo>
                  <a:lnTo>
                    <a:pt x="325" y="748"/>
                  </a:lnTo>
                  <a:lnTo>
                    <a:pt x="321" y="799"/>
                  </a:lnTo>
                  <a:lnTo>
                    <a:pt x="305" y="822"/>
                  </a:lnTo>
                  <a:lnTo>
                    <a:pt x="285" y="837"/>
                  </a:lnTo>
                  <a:lnTo>
                    <a:pt x="278" y="856"/>
                  </a:lnTo>
                  <a:lnTo>
                    <a:pt x="282" y="876"/>
                  </a:lnTo>
                  <a:lnTo>
                    <a:pt x="302" y="896"/>
                  </a:lnTo>
                  <a:lnTo>
                    <a:pt x="305" y="914"/>
                  </a:lnTo>
                  <a:lnTo>
                    <a:pt x="302" y="929"/>
                  </a:lnTo>
                  <a:lnTo>
                    <a:pt x="285" y="957"/>
                  </a:lnTo>
                  <a:lnTo>
                    <a:pt x="278" y="997"/>
                  </a:lnTo>
                  <a:lnTo>
                    <a:pt x="290" y="1030"/>
                  </a:lnTo>
                  <a:lnTo>
                    <a:pt x="305" y="1046"/>
                  </a:lnTo>
                  <a:lnTo>
                    <a:pt x="305" y="1084"/>
                  </a:lnTo>
                  <a:lnTo>
                    <a:pt x="344" y="1088"/>
                  </a:lnTo>
                  <a:lnTo>
                    <a:pt x="364" y="1104"/>
                  </a:lnTo>
                  <a:lnTo>
                    <a:pt x="356" y="1140"/>
                  </a:lnTo>
                  <a:lnTo>
                    <a:pt x="341" y="1140"/>
                  </a:lnTo>
                  <a:lnTo>
                    <a:pt x="305" y="1124"/>
                  </a:lnTo>
                  <a:lnTo>
                    <a:pt x="278" y="1137"/>
                  </a:lnTo>
                  <a:lnTo>
                    <a:pt x="270" y="1162"/>
                  </a:lnTo>
                  <a:lnTo>
                    <a:pt x="274" y="1201"/>
                  </a:lnTo>
                  <a:lnTo>
                    <a:pt x="290" y="1237"/>
                  </a:lnTo>
                  <a:lnTo>
                    <a:pt x="328" y="1244"/>
                  </a:lnTo>
                  <a:lnTo>
                    <a:pt x="348" y="1275"/>
                  </a:lnTo>
                  <a:lnTo>
                    <a:pt x="341" y="1322"/>
                  </a:lnTo>
                  <a:lnTo>
                    <a:pt x="308" y="1353"/>
                  </a:lnTo>
                  <a:lnTo>
                    <a:pt x="270" y="1373"/>
                  </a:lnTo>
                  <a:lnTo>
                    <a:pt x="255" y="1411"/>
                  </a:lnTo>
                  <a:lnTo>
                    <a:pt x="255" y="1450"/>
                  </a:lnTo>
                  <a:lnTo>
                    <a:pt x="274" y="1473"/>
                  </a:lnTo>
                  <a:lnTo>
                    <a:pt x="274" y="1500"/>
                  </a:lnTo>
                  <a:lnTo>
                    <a:pt x="255" y="1523"/>
                  </a:lnTo>
                  <a:lnTo>
                    <a:pt x="224" y="1526"/>
                  </a:lnTo>
                  <a:lnTo>
                    <a:pt x="208" y="1543"/>
                  </a:lnTo>
                  <a:lnTo>
                    <a:pt x="201" y="1562"/>
                  </a:lnTo>
                  <a:lnTo>
                    <a:pt x="201" y="1620"/>
                  </a:lnTo>
                  <a:lnTo>
                    <a:pt x="204" y="1643"/>
                  </a:lnTo>
                  <a:lnTo>
                    <a:pt x="216" y="1658"/>
                  </a:lnTo>
                  <a:lnTo>
                    <a:pt x="224" y="1663"/>
                  </a:lnTo>
                  <a:lnTo>
                    <a:pt x="236" y="1658"/>
                  </a:lnTo>
                  <a:lnTo>
                    <a:pt x="255" y="1651"/>
                  </a:lnTo>
                  <a:lnTo>
                    <a:pt x="266" y="1658"/>
                  </a:lnTo>
                  <a:lnTo>
                    <a:pt x="274" y="1734"/>
                  </a:lnTo>
                  <a:lnTo>
                    <a:pt x="290" y="1752"/>
                  </a:lnTo>
                  <a:lnTo>
                    <a:pt x="364" y="1749"/>
                  </a:lnTo>
                  <a:lnTo>
                    <a:pt x="488" y="1752"/>
                  </a:lnTo>
                  <a:lnTo>
                    <a:pt x="488" y="1772"/>
                  </a:lnTo>
                  <a:lnTo>
                    <a:pt x="484" y="1787"/>
                  </a:lnTo>
                  <a:lnTo>
                    <a:pt x="468" y="1791"/>
                  </a:lnTo>
                  <a:lnTo>
                    <a:pt x="391" y="1818"/>
                  </a:lnTo>
                  <a:lnTo>
                    <a:pt x="367" y="1838"/>
                  </a:lnTo>
                  <a:lnTo>
                    <a:pt x="348" y="1856"/>
                  </a:lnTo>
                  <a:lnTo>
                    <a:pt x="328" y="1876"/>
                  </a:lnTo>
                  <a:lnTo>
                    <a:pt x="308" y="1879"/>
                  </a:lnTo>
                  <a:lnTo>
                    <a:pt x="270" y="1860"/>
                  </a:lnTo>
                  <a:lnTo>
                    <a:pt x="227" y="1856"/>
                  </a:lnTo>
                  <a:lnTo>
                    <a:pt x="204" y="1841"/>
                  </a:lnTo>
                  <a:lnTo>
                    <a:pt x="189" y="1834"/>
                  </a:lnTo>
                  <a:lnTo>
                    <a:pt x="186" y="1821"/>
                  </a:lnTo>
                  <a:lnTo>
                    <a:pt x="181" y="1798"/>
                  </a:lnTo>
                  <a:lnTo>
                    <a:pt x="165" y="1783"/>
                  </a:lnTo>
                  <a:lnTo>
                    <a:pt x="143" y="1775"/>
                  </a:lnTo>
                  <a:lnTo>
                    <a:pt x="123" y="1779"/>
                  </a:lnTo>
                  <a:lnTo>
                    <a:pt x="107" y="1760"/>
                  </a:lnTo>
                  <a:lnTo>
                    <a:pt x="100" y="1744"/>
                  </a:lnTo>
                  <a:lnTo>
                    <a:pt x="76" y="1724"/>
                  </a:lnTo>
                  <a:lnTo>
                    <a:pt x="66" y="1717"/>
                  </a:lnTo>
                  <a:lnTo>
                    <a:pt x="57" y="1683"/>
                  </a:lnTo>
                  <a:lnTo>
                    <a:pt x="57" y="1663"/>
                  </a:lnTo>
                  <a:lnTo>
                    <a:pt x="57" y="1640"/>
                  </a:lnTo>
                  <a:lnTo>
                    <a:pt x="53" y="1600"/>
                  </a:lnTo>
                  <a:lnTo>
                    <a:pt x="38" y="1577"/>
                  </a:lnTo>
                  <a:lnTo>
                    <a:pt x="41" y="1562"/>
                  </a:lnTo>
                  <a:lnTo>
                    <a:pt x="53" y="1558"/>
                  </a:lnTo>
                  <a:lnTo>
                    <a:pt x="72" y="1538"/>
                  </a:lnTo>
                  <a:lnTo>
                    <a:pt x="81" y="1523"/>
                  </a:lnTo>
                  <a:lnTo>
                    <a:pt x="84" y="1516"/>
                  </a:lnTo>
                  <a:lnTo>
                    <a:pt x="69" y="1500"/>
                  </a:lnTo>
                  <a:lnTo>
                    <a:pt x="66" y="1458"/>
                  </a:lnTo>
                  <a:lnTo>
                    <a:pt x="72" y="1434"/>
                  </a:lnTo>
                  <a:lnTo>
                    <a:pt x="87" y="1415"/>
                  </a:lnTo>
                  <a:lnTo>
                    <a:pt x="96" y="1399"/>
                  </a:lnTo>
                  <a:lnTo>
                    <a:pt x="104" y="1396"/>
                  </a:lnTo>
                  <a:lnTo>
                    <a:pt x="87" y="1379"/>
                  </a:lnTo>
                  <a:lnTo>
                    <a:pt x="69" y="1373"/>
                  </a:lnTo>
                  <a:lnTo>
                    <a:pt x="57" y="1353"/>
                  </a:lnTo>
                  <a:lnTo>
                    <a:pt x="84" y="1333"/>
                  </a:lnTo>
                  <a:lnTo>
                    <a:pt x="66" y="1314"/>
                  </a:lnTo>
                  <a:lnTo>
                    <a:pt x="26" y="1310"/>
                  </a:lnTo>
                  <a:lnTo>
                    <a:pt x="10" y="1305"/>
                  </a:lnTo>
                  <a:lnTo>
                    <a:pt x="3" y="1295"/>
                  </a:lnTo>
                  <a:lnTo>
                    <a:pt x="0" y="1275"/>
                  </a:lnTo>
                  <a:lnTo>
                    <a:pt x="3" y="1252"/>
                  </a:lnTo>
                  <a:lnTo>
                    <a:pt x="10" y="1237"/>
                  </a:lnTo>
                  <a:lnTo>
                    <a:pt x="23" y="1237"/>
                  </a:lnTo>
                  <a:lnTo>
                    <a:pt x="41" y="1237"/>
                  </a:lnTo>
                  <a:lnTo>
                    <a:pt x="49" y="1252"/>
                  </a:lnTo>
                  <a:lnTo>
                    <a:pt x="81" y="1252"/>
                  </a:lnTo>
                  <a:lnTo>
                    <a:pt x="104" y="1252"/>
                  </a:lnTo>
                  <a:lnTo>
                    <a:pt x="120" y="1244"/>
                  </a:lnTo>
                  <a:lnTo>
                    <a:pt x="123" y="1208"/>
                  </a:lnTo>
                  <a:lnTo>
                    <a:pt x="120" y="1167"/>
                  </a:lnTo>
                  <a:lnTo>
                    <a:pt x="123" y="1150"/>
                  </a:lnTo>
                  <a:lnTo>
                    <a:pt x="143" y="1124"/>
                  </a:lnTo>
                  <a:lnTo>
                    <a:pt x="158" y="1117"/>
                  </a:lnTo>
                  <a:lnTo>
                    <a:pt x="135" y="1074"/>
                  </a:lnTo>
                  <a:lnTo>
                    <a:pt x="130" y="1027"/>
                  </a:lnTo>
                  <a:lnTo>
                    <a:pt x="143" y="984"/>
                  </a:lnTo>
                  <a:lnTo>
                    <a:pt x="153" y="942"/>
                  </a:lnTo>
                  <a:lnTo>
                    <a:pt x="150" y="899"/>
                  </a:lnTo>
                  <a:lnTo>
                    <a:pt x="146" y="880"/>
                  </a:lnTo>
                  <a:lnTo>
                    <a:pt x="153" y="860"/>
                  </a:lnTo>
                  <a:lnTo>
                    <a:pt x="150" y="852"/>
                  </a:lnTo>
                  <a:lnTo>
                    <a:pt x="140" y="856"/>
                  </a:lnTo>
                  <a:lnTo>
                    <a:pt x="123" y="872"/>
                  </a:lnTo>
                  <a:lnTo>
                    <a:pt x="92" y="880"/>
                  </a:lnTo>
                  <a:lnTo>
                    <a:pt x="81" y="876"/>
                  </a:lnTo>
                  <a:lnTo>
                    <a:pt x="76" y="837"/>
                  </a:lnTo>
                  <a:lnTo>
                    <a:pt x="76" y="799"/>
                  </a:lnTo>
                  <a:lnTo>
                    <a:pt x="81" y="759"/>
                  </a:lnTo>
                  <a:lnTo>
                    <a:pt x="87" y="721"/>
                  </a:lnTo>
                  <a:lnTo>
                    <a:pt x="92" y="701"/>
                  </a:lnTo>
                  <a:lnTo>
                    <a:pt x="100" y="690"/>
                  </a:lnTo>
                  <a:lnTo>
                    <a:pt x="104" y="678"/>
                  </a:lnTo>
                  <a:lnTo>
                    <a:pt x="107" y="655"/>
                  </a:lnTo>
                  <a:lnTo>
                    <a:pt x="123" y="616"/>
                  </a:lnTo>
                  <a:lnTo>
                    <a:pt x="115" y="585"/>
                  </a:lnTo>
                  <a:lnTo>
                    <a:pt x="107" y="553"/>
                  </a:lnTo>
                  <a:lnTo>
                    <a:pt x="100" y="523"/>
                  </a:lnTo>
                  <a:lnTo>
                    <a:pt x="100" y="495"/>
                  </a:lnTo>
                  <a:lnTo>
                    <a:pt x="107" y="469"/>
                  </a:lnTo>
                  <a:lnTo>
                    <a:pt x="120" y="449"/>
                  </a:lnTo>
                  <a:lnTo>
                    <a:pt x="140" y="433"/>
                  </a:lnTo>
                  <a:lnTo>
                    <a:pt x="158" y="430"/>
                  </a:lnTo>
                  <a:lnTo>
                    <a:pt x="178" y="368"/>
                  </a:lnTo>
                  <a:lnTo>
                    <a:pt x="181" y="349"/>
                  </a:lnTo>
                  <a:lnTo>
                    <a:pt x="201" y="291"/>
                  </a:lnTo>
                  <a:lnTo>
                    <a:pt x="211" y="275"/>
                  </a:lnTo>
                  <a:lnTo>
                    <a:pt x="231" y="225"/>
                  </a:lnTo>
                  <a:lnTo>
                    <a:pt x="244" y="151"/>
                  </a:lnTo>
                  <a:lnTo>
                    <a:pt x="244" y="147"/>
                  </a:lnTo>
                  <a:lnTo>
                    <a:pt x="247" y="81"/>
                  </a:lnTo>
                  <a:lnTo>
                    <a:pt x="251" y="0"/>
                  </a:lnTo>
                </a:path>
              </a:pathLst>
            </a:custGeom>
            <a:solidFill>
              <a:srgbClr val="337AB7"/>
            </a:solidFill>
            <a:ln w="12700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0" name="Google Shape;593;p19">
              <a:extLst>
                <a:ext uri="{FF2B5EF4-FFF2-40B4-BE49-F238E27FC236}">
                  <a16:creationId xmlns:a16="http://schemas.microsoft.com/office/drawing/2014/main" id="{352B18E4-3418-4B88-824B-3201EDDDB5E2}"/>
                </a:ext>
              </a:extLst>
            </p:cNvPr>
            <p:cNvSpPr/>
            <p:nvPr/>
          </p:nvSpPr>
          <p:spPr>
            <a:xfrm>
              <a:off x="3212" y="2985"/>
              <a:ext cx="137" cy="367"/>
            </a:xfrm>
            <a:custGeom>
              <a:avLst/>
              <a:gdLst/>
              <a:ahLst/>
              <a:cxnLst/>
              <a:rect l="l" t="t" r="r" b="b"/>
              <a:pathLst>
                <a:path w="482" h="1396" extrusionOk="0">
                  <a:moveTo>
                    <a:pt x="20" y="1396"/>
                  </a:moveTo>
                  <a:lnTo>
                    <a:pt x="13" y="1314"/>
                  </a:lnTo>
                  <a:lnTo>
                    <a:pt x="5" y="1271"/>
                  </a:lnTo>
                  <a:lnTo>
                    <a:pt x="13" y="1217"/>
                  </a:lnTo>
                  <a:lnTo>
                    <a:pt x="9" y="1217"/>
                  </a:lnTo>
                  <a:lnTo>
                    <a:pt x="24" y="1169"/>
                  </a:lnTo>
                  <a:lnTo>
                    <a:pt x="28" y="1154"/>
                  </a:lnTo>
                  <a:lnTo>
                    <a:pt x="31" y="1136"/>
                  </a:lnTo>
                  <a:lnTo>
                    <a:pt x="31" y="1112"/>
                  </a:lnTo>
                  <a:lnTo>
                    <a:pt x="28" y="1093"/>
                  </a:lnTo>
                  <a:lnTo>
                    <a:pt x="13" y="1070"/>
                  </a:lnTo>
                  <a:lnTo>
                    <a:pt x="0" y="1054"/>
                  </a:lnTo>
                  <a:lnTo>
                    <a:pt x="9" y="1031"/>
                  </a:lnTo>
                  <a:lnTo>
                    <a:pt x="16" y="1020"/>
                  </a:lnTo>
                  <a:lnTo>
                    <a:pt x="24" y="992"/>
                  </a:lnTo>
                  <a:lnTo>
                    <a:pt x="35" y="969"/>
                  </a:lnTo>
                  <a:lnTo>
                    <a:pt x="94" y="682"/>
                  </a:lnTo>
                  <a:lnTo>
                    <a:pt x="87" y="569"/>
                  </a:lnTo>
                  <a:lnTo>
                    <a:pt x="102" y="481"/>
                  </a:lnTo>
                  <a:lnTo>
                    <a:pt x="110" y="394"/>
                  </a:lnTo>
                  <a:lnTo>
                    <a:pt x="120" y="252"/>
                  </a:lnTo>
                  <a:lnTo>
                    <a:pt x="120" y="155"/>
                  </a:lnTo>
                  <a:lnTo>
                    <a:pt x="97" y="73"/>
                  </a:lnTo>
                  <a:lnTo>
                    <a:pt x="202" y="0"/>
                  </a:lnTo>
                  <a:lnTo>
                    <a:pt x="237" y="38"/>
                  </a:lnTo>
                  <a:lnTo>
                    <a:pt x="257" y="77"/>
                  </a:lnTo>
                  <a:lnTo>
                    <a:pt x="268" y="128"/>
                  </a:lnTo>
                  <a:lnTo>
                    <a:pt x="295" y="151"/>
                  </a:lnTo>
                  <a:lnTo>
                    <a:pt x="330" y="178"/>
                  </a:lnTo>
                  <a:lnTo>
                    <a:pt x="338" y="225"/>
                  </a:lnTo>
                  <a:lnTo>
                    <a:pt x="323" y="244"/>
                  </a:lnTo>
                  <a:lnTo>
                    <a:pt x="318" y="283"/>
                  </a:lnTo>
                  <a:lnTo>
                    <a:pt x="369" y="341"/>
                  </a:lnTo>
                  <a:lnTo>
                    <a:pt x="392" y="394"/>
                  </a:lnTo>
                  <a:lnTo>
                    <a:pt x="420" y="469"/>
                  </a:lnTo>
                  <a:lnTo>
                    <a:pt x="455" y="488"/>
                  </a:lnTo>
                  <a:lnTo>
                    <a:pt x="473" y="469"/>
                  </a:lnTo>
                  <a:lnTo>
                    <a:pt x="473" y="488"/>
                  </a:lnTo>
                  <a:lnTo>
                    <a:pt x="473" y="547"/>
                  </a:lnTo>
                  <a:lnTo>
                    <a:pt x="482" y="605"/>
                  </a:lnTo>
                  <a:lnTo>
                    <a:pt x="478" y="615"/>
                  </a:lnTo>
                  <a:lnTo>
                    <a:pt x="466" y="628"/>
                  </a:lnTo>
                  <a:lnTo>
                    <a:pt x="438" y="644"/>
                  </a:lnTo>
                  <a:lnTo>
                    <a:pt x="369" y="663"/>
                  </a:lnTo>
                  <a:lnTo>
                    <a:pt x="353" y="674"/>
                  </a:lnTo>
                  <a:lnTo>
                    <a:pt x="346" y="694"/>
                  </a:lnTo>
                  <a:lnTo>
                    <a:pt x="366" y="725"/>
                  </a:lnTo>
                  <a:lnTo>
                    <a:pt x="372" y="740"/>
                  </a:lnTo>
                  <a:lnTo>
                    <a:pt x="372" y="752"/>
                  </a:lnTo>
                  <a:lnTo>
                    <a:pt x="369" y="765"/>
                  </a:lnTo>
                  <a:lnTo>
                    <a:pt x="346" y="806"/>
                  </a:lnTo>
                  <a:lnTo>
                    <a:pt x="366" y="833"/>
                  </a:lnTo>
                  <a:lnTo>
                    <a:pt x="392" y="852"/>
                  </a:lnTo>
                  <a:lnTo>
                    <a:pt x="372" y="876"/>
                  </a:lnTo>
                  <a:lnTo>
                    <a:pt x="342" y="891"/>
                  </a:lnTo>
                  <a:lnTo>
                    <a:pt x="362" y="933"/>
                  </a:lnTo>
                  <a:lnTo>
                    <a:pt x="291" y="930"/>
                  </a:lnTo>
                  <a:lnTo>
                    <a:pt x="275" y="973"/>
                  </a:lnTo>
                  <a:lnTo>
                    <a:pt x="285" y="992"/>
                  </a:lnTo>
                  <a:lnTo>
                    <a:pt x="295" y="1016"/>
                  </a:lnTo>
                  <a:lnTo>
                    <a:pt x="295" y="1027"/>
                  </a:lnTo>
                  <a:lnTo>
                    <a:pt x="275" y="1047"/>
                  </a:lnTo>
                  <a:lnTo>
                    <a:pt x="257" y="1065"/>
                  </a:lnTo>
                  <a:lnTo>
                    <a:pt x="230" y="1085"/>
                  </a:lnTo>
                  <a:lnTo>
                    <a:pt x="217" y="1148"/>
                  </a:lnTo>
                  <a:lnTo>
                    <a:pt x="226" y="1232"/>
                  </a:lnTo>
                  <a:lnTo>
                    <a:pt x="206" y="1294"/>
                  </a:lnTo>
                  <a:lnTo>
                    <a:pt x="187" y="1396"/>
                  </a:lnTo>
                </a:path>
              </a:pathLst>
            </a:custGeom>
            <a:solidFill>
              <a:srgbClr val="337AB7"/>
            </a:solidFill>
            <a:ln w="12700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1" name="Google Shape;594;p19">
              <a:extLst>
                <a:ext uri="{FF2B5EF4-FFF2-40B4-BE49-F238E27FC236}">
                  <a16:creationId xmlns:a16="http://schemas.microsoft.com/office/drawing/2014/main" id="{313A3D99-A9EB-4500-B5C3-9848EDFB4D67}"/>
                </a:ext>
              </a:extLst>
            </p:cNvPr>
            <p:cNvSpPr/>
            <p:nvPr/>
          </p:nvSpPr>
          <p:spPr>
            <a:xfrm>
              <a:off x="3110" y="2191"/>
              <a:ext cx="389" cy="321"/>
            </a:xfrm>
            <a:custGeom>
              <a:avLst/>
              <a:gdLst/>
              <a:ahLst/>
              <a:cxnLst/>
              <a:rect l="l" t="t" r="r" b="b"/>
              <a:pathLst>
                <a:path w="1372" h="1225" extrusionOk="0">
                  <a:moveTo>
                    <a:pt x="1337" y="679"/>
                  </a:moveTo>
                  <a:lnTo>
                    <a:pt x="1309" y="694"/>
                  </a:lnTo>
                  <a:lnTo>
                    <a:pt x="1326" y="722"/>
                  </a:lnTo>
                  <a:lnTo>
                    <a:pt x="1326" y="753"/>
                  </a:lnTo>
                  <a:lnTo>
                    <a:pt x="1306" y="771"/>
                  </a:lnTo>
                  <a:lnTo>
                    <a:pt x="1283" y="795"/>
                  </a:lnTo>
                  <a:lnTo>
                    <a:pt x="1268" y="845"/>
                  </a:lnTo>
                  <a:lnTo>
                    <a:pt x="1251" y="869"/>
                  </a:lnTo>
                  <a:lnTo>
                    <a:pt x="1212" y="885"/>
                  </a:lnTo>
                  <a:lnTo>
                    <a:pt x="1131" y="900"/>
                  </a:lnTo>
                  <a:lnTo>
                    <a:pt x="1054" y="900"/>
                  </a:lnTo>
                  <a:lnTo>
                    <a:pt x="992" y="880"/>
                  </a:lnTo>
                  <a:lnTo>
                    <a:pt x="988" y="896"/>
                  </a:lnTo>
                  <a:lnTo>
                    <a:pt x="996" y="930"/>
                  </a:lnTo>
                  <a:lnTo>
                    <a:pt x="1027" y="954"/>
                  </a:lnTo>
                  <a:lnTo>
                    <a:pt x="1062" y="962"/>
                  </a:lnTo>
                  <a:lnTo>
                    <a:pt x="1088" y="982"/>
                  </a:lnTo>
                  <a:lnTo>
                    <a:pt x="1096" y="1009"/>
                  </a:lnTo>
                  <a:lnTo>
                    <a:pt x="1077" y="1047"/>
                  </a:lnTo>
                  <a:lnTo>
                    <a:pt x="1024" y="1066"/>
                  </a:lnTo>
                  <a:lnTo>
                    <a:pt x="1004" y="1086"/>
                  </a:lnTo>
                  <a:lnTo>
                    <a:pt x="981" y="1117"/>
                  </a:lnTo>
                  <a:lnTo>
                    <a:pt x="953" y="1160"/>
                  </a:lnTo>
                  <a:lnTo>
                    <a:pt x="930" y="1180"/>
                  </a:lnTo>
                  <a:lnTo>
                    <a:pt x="884" y="1187"/>
                  </a:lnTo>
                  <a:lnTo>
                    <a:pt x="845" y="1202"/>
                  </a:lnTo>
                  <a:lnTo>
                    <a:pt x="813" y="1221"/>
                  </a:lnTo>
                  <a:lnTo>
                    <a:pt x="783" y="1225"/>
                  </a:lnTo>
                  <a:lnTo>
                    <a:pt x="752" y="1206"/>
                  </a:lnTo>
                  <a:lnTo>
                    <a:pt x="744" y="1164"/>
                  </a:lnTo>
                  <a:lnTo>
                    <a:pt x="735" y="1101"/>
                  </a:lnTo>
                  <a:lnTo>
                    <a:pt x="709" y="1050"/>
                  </a:lnTo>
                  <a:lnTo>
                    <a:pt x="673" y="1009"/>
                  </a:lnTo>
                  <a:lnTo>
                    <a:pt x="663" y="950"/>
                  </a:lnTo>
                  <a:lnTo>
                    <a:pt x="697" y="923"/>
                  </a:lnTo>
                  <a:lnTo>
                    <a:pt x="681" y="896"/>
                  </a:lnTo>
                  <a:lnTo>
                    <a:pt x="654" y="888"/>
                  </a:lnTo>
                  <a:lnTo>
                    <a:pt x="628" y="869"/>
                  </a:lnTo>
                  <a:lnTo>
                    <a:pt x="620" y="826"/>
                  </a:lnTo>
                  <a:lnTo>
                    <a:pt x="638" y="771"/>
                  </a:lnTo>
                  <a:lnTo>
                    <a:pt x="638" y="730"/>
                  </a:lnTo>
                  <a:lnTo>
                    <a:pt x="620" y="690"/>
                  </a:lnTo>
                  <a:lnTo>
                    <a:pt x="542" y="671"/>
                  </a:lnTo>
                  <a:lnTo>
                    <a:pt x="488" y="694"/>
                  </a:lnTo>
                  <a:lnTo>
                    <a:pt x="440" y="679"/>
                  </a:lnTo>
                  <a:lnTo>
                    <a:pt x="410" y="636"/>
                  </a:lnTo>
                  <a:lnTo>
                    <a:pt x="372" y="598"/>
                  </a:lnTo>
                  <a:lnTo>
                    <a:pt x="329" y="567"/>
                  </a:lnTo>
                  <a:lnTo>
                    <a:pt x="297" y="567"/>
                  </a:lnTo>
                  <a:lnTo>
                    <a:pt x="239" y="583"/>
                  </a:lnTo>
                  <a:lnTo>
                    <a:pt x="185" y="574"/>
                  </a:lnTo>
                  <a:lnTo>
                    <a:pt x="132" y="547"/>
                  </a:lnTo>
                  <a:lnTo>
                    <a:pt x="100" y="509"/>
                  </a:lnTo>
                  <a:lnTo>
                    <a:pt x="84" y="415"/>
                  </a:lnTo>
                  <a:lnTo>
                    <a:pt x="68" y="395"/>
                  </a:lnTo>
                  <a:lnTo>
                    <a:pt x="18" y="412"/>
                  </a:lnTo>
                  <a:lnTo>
                    <a:pt x="0" y="408"/>
                  </a:lnTo>
                  <a:lnTo>
                    <a:pt x="0" y="392"/>
                  </a:lnTo>
                  <a:lnTo>
                    <a:pt x="46" y="318"/>
                  </a:lnTo>
                  <a:lnTo>
                    <a:pt x="64" y="214"/>
                  </a:lnTo>
                  <a:lnTo>
                    <a:pt x="100" y="164"/>
                  </a:lnTo>
                  <a:lnTo>
                    <a:pt x="150" y="136"/>
                  </a:lnTo>
                  <a:lnTo>
                    <a:pt x="178" y="108"/>
                  </a:lnTo>
                  <a:lnTo>
                    <a:pt x="185" y="136"/>
                  </a:lnTo>
                  <a:lnTo>
                    <a:pt x="213" y="155"/>
                  </a:lnTo>
                  <a:lnTo>
                    <a:pt x="239" y="144"/>
                  </a:lnTo>
                  <a:lnTo>
                    <a:pt x="255" y="121"/>
                  </a:lnTo>
                  <a:lnTo>
                    <a:pt x="285" y="58"/>
                  </a:lnTo>
                  <a:lnTo>
                    <a:pt x="313" y="16"/>
                  </a:lnTo>
                  <a:lnTo>
                    <a:pt x="325" y="4"/>
                  </a:lnTo>
                  <a:lnTo>
                    <a:pt x="348" y="0"/>
                  </a:lnTo>
                  <a:lnTo>
                    <a:pt x="359" y="8"/>
                  </a:lnTo>
                  <a:lnTo>
                    <a:pt x="368" y="8"/>
                  </a:lnTo>
                  <a:lnTo>
                    <a:pt x="379" y="19"/>
                  </a:lnTo>
                  <a:lnTo>
                    <a:pt x="387" y="34"/>
                  </a:lnTo>
                  <a:lnTo>
                    <a:pt x="391" y="54"/>
                  </a:lnTo>
                  <a:lnTo>
                    <a:pt x="410" y="58"/>
                  </a:lnTo>
                  <a:lnTo>
                    <a:pt x="450" y="58"/>
                  </a:lnTo>
                  <a:lnTo>
                    <a:pt x="473" y="77"/>
                  </a:lnTo>
                  <a:lnTo>
                    <a:pt x="515" y="113"/>
                  </a:lnTo>
                  <a:lnTo>
                    <a:pt x="557" y="151"/>
                  </a:lnTo>
                  <a:lnTo>
                    <a:pt x="577" y="155"/>
                  </a:lnTo>
                  <a:lnTo>
                    <a:pt x="678" y="128"/>
                  </a:lnTo>
                  <a:lnTo>
                    <a:pt x="705" y="125"/>
                  </a:lnTo>
                  <a:lnTo>
                    <a:pt x="732" y="136"/>
                  </a:lnTo>
                  <a:lnTo>
                    <a:pt x="739" y="151"/>
                  </a:lnTo>
                  <a:lnTo>
                    <a:pt x="783" y="167"/>
                  </a:lnTo>
                  <a:lnTo>
                    <a:pt x="801" y="184"/>
                  </a:lnTo>
                  <a:lnTo>
                    <a:pt x="821" y="187"/>
                  </a:lnTo>
                  <a:lnTo>
                    <a:pt x="879" y="184"/>
                  </a:lnTo>
                  <a:lnTo>
                    <a:pt x="907" y="167"/>
                  </a:lnTo>
                  <a:lnTo>
                    <a:pt x="923" y="159"/>
                  </a:lnTo>
                  <a:lnTo>
                    <a:pt x="968" y="101"/>
                  </a:lnTo>
                  <a:lnTo>
                    <a:pt x="984" y="97"/>
                  </a:lnTo>
                  <a:lnTo>
                    <a:pt x="1085" y="97"/>
                  </a:lnTo>
                  <a:lnTo>
                    <a:pt x="1105" y="97"/>
                  </a:lnTo>
                  <a:lnTo>
                    <a:pt x="1121" y="117"/>
                  </a:lnTo>
                  <a:lnTo>
                    <a:pt x="1128" y="136"/>
                  </a:lnTo>
                  <a:lnTo>
                    <a:pt x="1124" y="155"/>
                  </a:lnTo>
                  <a:lnTo>
                    <a:pt x="1135" y="187"/>
                  </a:lnTo>
                  <a:lnTo>
                    <a:pt x="1169" y="194"/>
                  </a:lnTo>
                  <a:lnTo>
                    <a:pt x="1189" y="198"/>
                  </a:lnTo>
                  <a:lnTo>
                    <a:pt x="1228" y="198"/>
                  </a:lnTo>
                  <a:lnTo>
                    <a:pt x="1268" y="214"/>
                  </a:lnTo>
                  <a:lnTo>
                    <a:pt x="1290" y="233"/>
                  </a:lnTo>
                  <a:lnTo>
                    <a:pt x="1294" y="253"/>
                  </a:lnTo>
                  <a:lnTo>
                    <a:pt x="1306" y="272"/>
                  </a:lnTo>
                  <a:lnTo>
                    <a:pt x="1319" y="291"/>
                  </a:lnTo>
                  <a:lnTo>
                    <a:pt x="1372" y="299"/>
                  </a:lnTo>
                  <a:lnTo>
                    <a:pt x="1368" y="314"/>
                  </a:lnTo>
                  <a:lnTo>
                    <a:pt x="1368" y="357"/>
                  </a:lnTo>
                  <a:lnTo>
                    <a:pt x="1349" y="372"/>
                  </a:lnTo>
                  <a:lnTo>
                    <a:pt x="1322" y="384"/>
                  </a:lnTo>
                  <a:lnTo>
                    <a:pt x="1294" y="395"/>
                  </a:lnTo>
                  <a:lnTo>
                    <a:pt x="1286" y="420"/>
                  </a:lnTo>
                  <a:lnTo>
                    <a:pt x="1294" y="450"/>
                  </a:lnTo>
                  <a:lnTo>
                    <a:pt x="1352" y="469"/>
                  </a:lnTo>
                  <a:lnTo>
                    <a:pt x="1332" y="489"/>
                  </a:lnTo>
                  <a:lnTo>
                    <a:pt x="1275" y="489"/>
                  </a:lnTo>
                  <a:lnTo>
                    <a:pt x="1260" y="509"/>
                  </a:lnTo>
                  <a:lnTo>
                    <a:pt x="1279" y="527"/>
                  </a:lnTo>
                  <a:lnTo>
                    <a:pt x="1286" y="559"/>
                  </a:lnTo>
                  <a:lnTo>
                    <a:pt x="1279" y="605"/>
                  </a:lnTo>
                  <a:lnTo>
                    <a:pt x="1299" y="660"/>
                  </a:lnTo>
                  <a:lnTo>
                    <a:pt x="1337" y="679"/>
                  </a:lnTo>
                  <a:close/>
                </a:path>
              </a:pathLst>
            </a:custGeom>
            <a:noFill/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2" name="Google Shape;595;p19">
              <a:extLst>
                <a:ext uri="{FF2B5EF4-FFF2-40B4-BE49-F238E27FC236}">
                  <a16:creationId xmlns:a16="http://schemas.microsoft.com/office/drawing/2014/main" id="{C7A86C9C-C02F-4BCD-8D2F-EB92761BA832}"/>
                </a:ext>
              </a:extLst>
            </p:cNvPr>
            <p:cNvSpPr/>
            <p:nvPr/>
          </p:nvSpPr>
          <p:spPr>
            <a:xfrm>
              <a:off x="3110" y="2191"/>
              <a:ext cx="389" cy="321"/>
            </a:xfrm>
            <a:custGeom>
              <a:avLst/>
              <a:gdLst/>
              <a:ahLst/>
              <a:cxnLst/>
              <a:rect l="l" t="t" r="r" b="b"/>
              <a:pathLst>
                <a:path w="1372" h="1225" extrusionOk="0">
                  <a:moveTo>
                    <a:pt x="1337" y="679"/>
                  </a:moveTo>
                  <a:lnTo>
                    <a:pt x="1309" y="694"/>
                  </a:lnTo>
                  <a:lnTo>
                    <a:pt x="1326" y="722"/>
                  </a:lnTo>
                  <a:lnTo>
                    <a:pt x="1326" y="753"/>
                  </a:lnTo>
                  <a:lnTo>
                    <a:pt x="1306" y="771"/>
                  </a:lnTo>
                  <a:lnTo>
                    <a:pt x="1283" y="795"/>
                  </a:lnTo>
                  <a:lnTo>
                    <a:pt x="1268" y="845"/>
                  </a:lnTo>
                  <a:lnTo>
                    <a:pt x="1251" y="869"/>
                  </a:lnTo>
                  <a:lnTo>
                    <a:pt x="1212" y="885"/>
                  </a:lnTo>
                  <a:lnTo>
                    <a:pt x="1131" y="900"/>
                  </a:lnTo>
                  <a:lnTo>
                    <a:pt x="1054" y="900"/>
                  </a:lnTo>
                  <a:lnTo>
                    <a:pt x="992" y="880"/>
                  </a:lnTo>
                  <a:lnTo>
                    <a:pt x="988" y="896"/>
                  </a:lnTo>
                  <a:lnTo>
                    <a:pt x="996" y="930"/>
                  </a:lnTo>
                  <a:lnTo>
                    <a:pt x="1027" y="954"/>
                  </a:lnTo>
                  <a:lnTo>
                    <a:pt x="1062" y="962"/>
                  </a:lnTo>
                  <a:lnTo>
                    <a:pt x="1088" y="982"/>
                  </a:lnTo>
                  <a:lnTo>
                    <a:pt x="1096" y="1009"/>
                  </a:lnTo>
                  <a:lnTo>
                    <a:pt x="1077" y="1047"/>
                  </a:lnTo>
                  <a:lnTo>
                    <a:pt x="1024" y="1066"/>
                  </a:lnTo>
                  <a:lnTo>
                    <a:pt x="1004" y="1086"/>
                  </a:lnTo>
                  <a:lnTo>
                    <a:pt x="981" y="1117"/>
                  </a:lnTo>
                  <a:lnTo>
                    <a:pt x="953" y="1160"/>
                  </a:lnTo>
                  <a:lnTo>
                    <a:pt x="930" y="1180"/>
                  </a:lnTo>
                  <a:lnTo>
                    <a:pt x="884" y="1187"/>
                  </a:lnTo>
                  <a:lnTo>
                    <a:pt x="845" y="1202"/>
                  </a:lnTo>
                  <a:lnTo>
                    <a:pt x="813" y="1221"/>
                  </a:lnTo>
                  <a:lnTo>
                    <a:pt x="783" y="1225"/>
                  </a:lnTo>
                  <a:lnTo>
                    <a:pt x="752" y="1206"/>
                  </a:lnTo>
                  <a:lnTo>
                    <a:pt x="744" y="1164"/>
                  </a:lnTo>
                  <a:lnTo>
                    <a:pt x="735" y="1101"/>
                  </a:lnTo>
                  <a:lnTo>
                    <a:pt x="709" y="1050"/>
                  </a:lnTo>
                  <a:lnTo>
                    <a:pt x="673" y="1009"/>
                  </a:lnTo>
                  <a:lnTo>
                    <a:pt x="663" y="950"/>
                  </a:lnTo>
                  <a:lnTo>
                    <a:pt x="697" y="923"/>
                  </a:lnTo>
                  <a:lnTo>
                    <a:pt x="681" y="896"/>
                  </a:lnTo>
                  <a:lnTo>
                    <a:pt x="654" y="888"/>
                  </a:lnTo>
                  <a:lnTo>
                    <a:pt x="628" y="869"/>
                  </a:lnTo>
                  <a:lnTo>
                    <a:pt x="620" y="826"/>
                  </a:lnTo>
                  <a:lnTo>
                    <a:pt x="638" y="771"/>
                  </a:lnTo>
                  <a:lnTo>
                    <a:pt x="638" y="730"/>
                  </a:lnTo>
                  <a:lnTo>
                    <a:pt x="620" y="690"/>
                  </a:lnTo>
                  <a:lnTo>
                    <a:pt x="542" y="671"/>
                  </a:lnTo>
                  <a:lnTo>
                    <a:pt x="488" y="694"/>
                  </a:lnTo>
                  <a:lnTo>
                    <a:pt x="440" y="679"/>
                  </a:lnTo>
                  <a:lnTo>
                    <a:pt x="410" y="636"/>
                  </a:lnTo>
                  <a:lnTo>
                    <a:pt x="372" y="598"/>
                  </a:lnTo>
                  <a:lnTo>
                    <a:pt x="329" y="567"/>
                  </a:lnTo>
                  <a:lnTo>
                    <a:pt x="297" y="567"/>
                  </a:lnTo>
                  <a:lnTo>
                    <a:pt x="239" y="583"/>
                  </a:lnTo>
                  <a:lnTo>
                    <a:pt x="185" y="574"/>
                  </a:lnTo>
                  <a:lnTo>
                    <a:pt x="132" y="547"/>
                  </a:lnTo>
                  <a:lnTo>
                    <a:pt x="100" y="509"/>
                  </a:lnTo>
                  <a:lnTo>
                    <a:pt x="84" y="415"/>
                  </a:lnTo>
                  <a:lnTo>
                    <a:pt x="68" y="395"/>
                  </a:lnTo>
                  <a:lnTo>
                    <a:pt x="18" y="412"/>
                  </a:lnTo>
                  <a:lnTo>
                    <a:pt x="0" y="408"/>
                  </a:lnTo>
                  <a:lnTo>
                    <a:pt x="0" y="392"/>
                  </a:lnTo>
                  <a:lnTo>
                    <a:pt x="46" y="318"/>
                  </a:lnTo>
                  <a:lnTo>
                    <a:pt x="64" y="214"/>
                  </a:lnTo>
                  <a:lnTo>
                    <a:pt x="100" y="164"/>
                  </a:lnTo>
                  <a:lnTo>
                    <a:pt x="150" y="136"/>
                  </a:lnTo>
                  <a:lnTo>
                    <a:pt x="178" y="108"/>
                  </a:lnTo>
                  <a:lnTo>
                    <a:pt x="185" y="136"/>
                  </a:lnTo>
                  <a:lnTo>
                    <a:pt x="213" y="155"/>
                  </a:lnTo>
                  <a:lnTo>
                    <a:pt x="239" y="144"/>
                  </a:lnTo>
                  <a:lnTo>
                    <a:pt x="255" y="121"/>
                  </a:lnTo>
                  <a:lnTo>
                    <a:pt x="285" y="58"/>
                  </a:lnTo>
                  <a:lnTo>
                    <a:pt x="313" y="16"/>
                  </a:lnTo>
                  <a:lnTo>
                    <a:pt x="325" y="4"/>
                  </a:lnTo>
                  <a:lnTo>
                    <a:pt x="348" y="0"/>
                  </a:lnTo>
                  <a:lnTo>
                    <a:pt x="359" y="8"/>
                  </a:lnTo>
                  <a:lnTo>
                    <a:pt x="368" y="8"/>
                  </a:lnTo>
                  <a:lnTo>
                    <a:pt x="379" y="19"/>
                  </a:lnTo>
                  <a:lnTo>
                    <a:pt x="387" y="34"/>
                  </a:lnTo>
                  <a:lnTo>
                    <a:pt x="391" y="54"/>
                  </a:lnTo>
                  <a:lnTo>
                    <a:pt x="410" y="58"/>
                  </a:lnTo>
                  <a:lnTo>
                    <a:pt x="450" y="58"/>
                  </a:lnTo>
                  <a:lnTo>
                    <a:pt x="473" y="77"/>
                  </a:lnTo>
                  <a:lnTo>
                    <a:pt x="515" y="113"/>
                  </a:lnTo>
                  <a:lnTo>
                    <a:pt x="557" y="151"/>
                  </a:lnTo>
                  <a:lnTo>
                    <a:pt x="577" y="155"/>
                  </a:lnTo>
                  <a:lnTo>
                    <a:pt x="678" y="128"/>
                  </a:lnTo>
                  <a:lnTo>
                    <a:pt x="705" y="125"/>
                  </a:lnTo>
                  <a:lnTo>
                    <a:pt x="732" y="136"/>
                  </a:lnTo>
                  <a:lnTo>
                    <a:pt x="739" y="151"/>
                  </a:lnTo>
                  <a:lnTo>
                    <a:pt x="783" y="167"/>
                  </a:lnTo>
                  <a:lnTo>
                    <a:pt x="801" y="184"/>
                  </a:lnTo>
                  <a:lnTo>
                    <a:pt x="821" y="187"/>
                  </a:lnTo>
                  <a:lnTo>
                    <a:pt x="879" y="184"/>
                  </a:lnTo>
                  <a:lnTo>
                    <a:pt x="907" y="167"/>
                  </a:lnTo>
                  <a:lnTo>
                    <a:pt x="923" y="159"/>
                  </a:lnTo>
                  <a:lnTo>
                    <a:pt x="968" y="101"/>
                  </a:lnTo>
                  <a:lnTo>
                    <a:pt x="984" y="97"/>
                  </a:lnTo>
                  <a:lnTo>
                    <a:pt x="1085" y="97"/>
                  </a:lnTo>
                  <a:lnTo>
                    <a:pt x="1105" y="97"/>
                  </a:lnTo>
                  <a:lnTo>
                    <a:pt x="1121" y="117"/>
                  </a:lnTo>
                  <a:lnTo>
                    <a:pt x="1128" y="136"/>
                  </a:lnTo>
                  <a:lnTo>
                    <a:pt x="1124" y="155"/>
                  </a:lnTo>
                  <a:lnTo>
                    <a:pt x="1135" y="187"/>
                  </a:lnTo>
                  <a:lnTo>
                    <a:pt x="1169" y="194"/>
                  </a:lnTo>
                  <a:lnTo>
                    <a:pt x="1189" y="198"/>
                  </a:lnTo>
                  <a:lnTo>
                    <a:pt x="1228" y="198"/>
                  </a:lnTo>
                  <a:lnTo>
                    <a:pt x="1268" y="214"/>
                  </a:lnTo>
                  <a:lnTo>
                    <a:pt x="1290" y="233"/>
                  </a:lnTo>
                  <a:lnTo>
                    <a:pt x="1294" y="253"/>
                  </a:lnTo>
                  <a:lnTo>
                    <a:pt x="1306" y="272"/>
                  </a:lnTo>
                  <a:lnTo>
                    <a:pt x="1319" y="291"/>
                  </a:lnTo>
                  <a:lnTo>
                    <a:pt x="1372" y="299"/>
                  </a:lnTo>
                  <a:lnTo>
                    <a:pt x="1368" y="314"/>
                  </a:lnTo>
                  <a:lnTo>
                    <a:pt x="1368" y="357"/>
                  </a:lnTo>
                  <a:lnTo>
                    <a:pt x="1349" y="372"/>
                  </a:lnTo>
                  <a:lnTo>
                    <a:pt x="1322" y="384"/>
                  </a:lnTo>
                  <a:lnTo>
                    <a:pt x="1294" y="395"/>
                  </a:lnTo>
                  <a:lnTo>
                    <a:pt x="1286" y="420"/>
                  </a:lnTo>
                  <a:lnTo>
                    <a:pt x="1294" y="450"/>
                  </a:lnTo>
                  <a:lnTo>
                    <a:pt x="1352" y="469"/>
                  </a:lnTo>
                  <a:lnTo>
                    <a:pt x="1332" y="489"/>
                  </a:lnTo>
                  <a:lnTo>
                    <a:pt x="1275" y="489"/>
                  </a:lnTo>
                  <a:lnTo>
                    <a:pt x="1260" y="509"/>
                  </a:lnTo>
                  <a:lnTo>
                    <a:pt x="1279" y="527"/>
                  </a:lnTo>
                  <a:lnTo>
                    <a:pt x="1286" y="559"/>
                  </a:lnTo>
                  <a:lnTo>
                    <a:pt x="1279" y="605"/>
                  </a:lnTo>
                  <a:lnTo>
                    <a:pt x="1299" y="660"/>
                  </a:lnTo>
                  <a:lnTo>
                    <a:pt x="1337" y="679"/>
                  </a:lnTo>
                </a:path>
              </a:pathLst>
            </a:custGeom>
            <a:solidFill>
              <a:srgbClr val="337AB7"/>
            </a:solidFill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3" name="Google Shape;596;p19">
              <a:extLst>
                <a:ext uri="{FF2B5EF4-FFF2-40B4-BE49-F238E27FC236}">
                  <a16:creationId xmlns:a16="http://schemas.microsoft.com/office/drawing/2014/main" id="{C94425D4-BA02-4DE5-8B51-E94AED875059}"/>
                </a:ext>
              </a:extLst>
            </p:cNvPr>
            <p:cNvSpPr/>
            <p:nvPr/>
          </p:nvSpPr>
          <p:spPr>
            <a:xfrm>
              <a:off x="2913" y="2492"/>
              <a:ext cx="162" cy="186"/>
            </a:xfrm>
            <a:custGeom>
              <a:avLst/>
              <a:gdLst/>
              <a:ahLst/>
              <a:cxnLst/>
              <a:rect l="l" t="t" r="r" b="b"/>
              <a:pathLst>
                <a:path w="567" h="707" extrusionOk="0">
                  <a:moveTo>
                    <a:pt x="13" y="520"/>
                  </a:moveTo>
                  <a:lnTo>
                    <a:pt x="47" y="475"/>
                  </a:lnTo>
                  <a:lnTo>
                    <a:pt x="71" y="454"/>
                  </a:lnTo>
                  <a:lnTo>
                    <a:pt x="90" y="431"/>
                  </a:lnTo>
                  <a:lnTo>
                    <a:pt x="94" y="412"/>
                  </a:lnTo>
                  <a:lnTo>
                    <a:pt x="86" y="393"/>
                  </a:lnTo>
                  <a:lnTo>
                    <a:pt x="71" y="393"/>
                  </a:lnTo>
                  <a:lnTo>
                    <a:pt x="51" y="409"/>
                  </a:lnTo>
                  <a:lnTo>
                    <a:pt x="40" y="416"/>
                  </a:lnTo>
                  <a:lnTo>
                    <a:pt x="24" y="412"/>
                  </a:lnTo>
                  <a:lnTo>
                    <a:pt x="17" y="404"/>
                  </a:lnTo>
                  <a:lnTo>
                    <a:pt x="9" y="396"/>
                  </a:lnTo>
                  <a:lnTo>
                    <a:pt x="0" y="374"/>
                  </a:lnTo>
                  <a:lnTo>
                    <a:pt x="0" y="355"/>
                  </a:lnTo>
                  <a:lnTo>
                    <a:pt x="4" y="335"/>
                  </a:lnTo>
                  <a:lnTo>
                    <a:pt x="17" y="272"/>
                  </a:lnTo>
                  <a:lnTo>
                    <a:pt x="35" y="206"/>
                  </a:lnTo>
                  <a:lnTo>
                    <a:pt x="66" y="124"/>
                  </a:lnTo>
                  <a:lnTo>
                    <a:pt x="78" y="83"/>
                  </a:lnTo>
                  <a:lnTo>
                    <a:pt x="90" y="55"/>
                  </a:lnTo>
                  <a:lnTo>
                    <a:pt x="101" y="43"/>
                  </a:lnTo>
                  <a:lnTo>
                    <a:pt x="129" y="20"/>
                  </a:lnTo>
                  <a:lnTo>
                    <a:pt x="155" y="0"/>
                  </a:lnTo>
                  <a:lnTo>
                    <a:pt x="164" y="20"/>
                  </a:lnTo>
                  <a:lnTo>
                    <a:pt x="202" y="55"/>
                  </a:lnTo>
                  <a:lnTo>
                    <a:pt x="241" y="78"/>
                  </a:lnTo>
                  <a:lnTo>
                    <a:pt x="279" y="86"/>
                  </a:lnTo>
                  <a:lnTo>
                    <a:pt x="330" y="83"/>
                  </a:lnTo>
                  <a:lnTo>
                    <a:pt x="346" y="91"/>
                  </a:lnTo>
                  <a:lnTo>
                    <a:pt x="338" y="117"/>
                  </a:lnTo>
                  <a:lnTo>
                    <a:pt x="335" y="152"/>
                  </a:lnTo>
                  <a:lnTo>
                    <a:pt x="350" y="172"/>
                  </a:lnTo>
                  <a:lnTo>
                    <a:pt x="380" y="175"/>
                  </a:lnTo>
                  <a:lnTo>
                    <a:pt x="419" y="172"/>
                  </a:lnTo>
                  <a:lnTo>
                    <a:pt x="467" y="175"/>
                  </a:lnTo>
                  <a:lnTo>
                    <a:pt x="540" y="198"/>
                  </a:lnTo>
                  <a:lnTo>
                    <a:pt x="531" y="230"/>
                  </a:lnTo>
                  <a:lnTo>
                    <a:pt x="555" y="264"/>
                  </a:lnTo>
                  <a:lnTo>
                    <a:pt x="567" y="304"/>
                  </a:lnTo>
                  <a:lnTo>
                    <a:pt x="564" y="331"/>
                  </a:lnTo>
                  <a:lnTo>
                    <a:pt x="548" y="361"/>
                  </a:lnTo>
                  <a:lnTo>
                    <a:pt x="516" y="385"/>
                  </a:lnTo>
                  <a:lnTo>
                    <a:pt x="497" y="400"/>
                  </a:lnTo>
                  <a:lnTo>
                    <a:pt x="485" y="431"/>
                  </a:lnTo>
                  <a:lnTo>
                    <a:pt x="462" y="451"/>
                  </a:lnTo>
                  <a:lnTo>
                    <a:pt x="380" y="467"/>
                  </a:lnTo>
                  <a:lnTo>
                    <a:pt x="302" y="497"/>
                  </a:lnTo>
                  <a:lnTo>
                    <a:pt x="284" y="510"/>
                  </a:lnTo>
                  <a:lnTo>
                    <a:pt x="269" y="536"/>
                  </a:lnTo>
                  <a:lnTo>
                    <a:pt x="260" y="597"/>
                  </a:lnTo>
                  <a:lnTo>
                    <a:pt x="241" y="656"/>
                  </a:lnTo>
                  <a:lnTo>
                    <a:pt x="214" y="688"/>
                  </a:lnTo>
                  <a:lnTo>
                    <a:pt x="175" y="707"/>
                  </a:lnTo>
                  <a:lnTo>
                    <a:pt x="152" y="703"/>
                  </a:lnTo>
                  <a:lnTo>
                    <a:pt x="139" y="675"/>
                  </a:lnTo>
                  <a:lnTo>
                    <a:pt x="124" y="660"/>
                  </a:lnTo>
                  <a:lnTo>
                    <a:pt x="101" y="653"/>
                  </a:lnTo>
                  <a:lnTo>
                    <a:pt x="78" y="665"/>
                  </a:lnTo>
                  <a:lnTo>
                    <a:pt x="63" y="656"/>
                  </a:lnTo>
                  <a:lnTo>
                    <a:pt x="59" y="633"/>
                  </a:lnTo>
                  <a:lnTo>
                    <a:pt x="66" y="587"/>
                  </a:lnTo>
                  <a:lnTo>
                    <a:pt x="51" y="544"/>
                  </a:lnTo>
                  <a:lnTo>
                    <a:pt x="24" y="520"/>
                  </a:lnTo>
                  <a:lnTo>
                    <a:pt x="13" y="520"/>
                  </a:lnTo>
                </a:path>
              </a:pathLst>
            </a:custGeom>
            <a:solidFill>
              <a:srgbClr val="D4F0FB"/>
            </a:solidFill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4" name="Google Shape;597;p19">
              <a:extLst>
                <a:ext uri="{FF2B5EF4-FFF2-40B4-BE49-F238E27FC236}">
                  <a16:creationId xmlns:a16="http://schemas.microsoft.com/office/drawing/2014/main" id="{16397F01-70DD-4786-90AD-27B0FE748193}"/>
                </a:ext>
              </a:extLst>
            </p:cNvPr>
            <p:cNvSpPr/>
            <p:nvPr/>
          </p:nvSpPr>
          <p:spPr>
            <a:xfrm>
              <a:off x="3468" y="2269"/>
              <a:ext cx="134" cy="204"/>
            </a:xfrm>
            <a:custGeom>
              <a:avLst/>
              <a:gdLst/>
              <a:ahLst/>
              <a:cxnLst/>
              <a:rect l="l" t="t" r="r" b="b"/>
              <a:pathLst>
                <a:path w="473" h="775" extrusionOk="0">
                  <a:moveTo>
                    <a:pt x="116" y="0"/>
                  </a:moveTo>
                  <a:lnTo>
                    <a:pt x="181" y="3"/>
                  </a:lnTo>
                  <a:lnTo>
                    <a:pt x="201" y="7"/>
                  </a:lnTo>
                  <a:lnTo>
                    <a:pt x="229" y="15"/>
                  </a:lnTo>
                  <a:lnTo>
                    <a:pt x="240" y="26"/>
                  </a:lnTo>
                  <a:lnTo>
                    <a:pt x="286" y="89"/>
                  </a:lnTo>
                  <a:lnTo>
                    <a:pt x="305" y="109"/>
                  </a:lnTo>
                  <a:lnTo>
                    <a:pt x="328" y="131"/>
                  </a:lnTo>
                  <a:lnTo>
                    <a:pt x="341" y="155"/>
                  </a:lnTo>
                  <a:lnTo>
                    <a:pt x="352" y="183"/>
                  </a:lnTo>
                  <a:lnTo>
                    <a:pt x="372" y="209"/>
                  </a:lnTo>
                  <a:lnTo>
                    <a:pt x="379" y="217"/>
                  </a:lnTo>
                  <a:lnTo>
                    <a:pt x="392" y="228"/>
                  </a:lnTo>
                  <a:lnTo>
                    <a:pt x="415" y="244"/>
                  </a:lnTo>
                  <a:lnTo>
                    <a:pt x="402" y="251"/>
                  </a:lnTo>
                  <a:lnTo>
                    <a:pt x="387" y="313"/>
                  </a:lnTo>
                  <a:lnTo>
                    <a:pt x="379" y="338"/>
                  </a:lnTo>
                  <a:lnTo>
                    <a:pt x="361" y="357"/>
                  </a:lnTo>
                  <a:lnTo>
                    <a:pt x="344" y="368"/>
                  </a:lnTo>
                  <a:lnTo>
                    <a:pt x="325" y="371"/>
                  </a:lnTo>
                  <a:lnTo>
                    <a:pt x="314" y="391"/>
                  </a:lnTo>
                  <a:lnTo>
                    <a:pt x="325" y="415"/>
                  </a:lnTo>
                  <a:lnTo>
                    <a:pt x="334" y="442"/>
                  </a:lnTo>
                  <a:lnTo>
                    <a:pt x="334" y="481"/>
                  </a:lnTo>
                  <a:lnTo>
                    <a:pt x="364" y="523"/>
                  </a:lnTo>
                  <a:lnTo>
                    <a:pt x="410" y="559"/>
                  </a:lnTo>
                  <a:lnTo>
                    <a:pt x="435" y="593"/>
                  </a:lnTo>
                  <a:lnTo>
                    <a:pt x="442" y="640"/>
                  </a:lnTo>
                  <a:lnTo>
                    <a:pt x="473" y="659"/>
                  </a:lnTo>
                  <a:lnTo>
                    <a:pt x="406" y="698"/>
                  </a:lnTo>
                  <a:lnTo>
                    <a:pt x="352" y="757"/>
                  </a:lnTo>
                  <a:lnTo>
                    <a:pt x="321" y="775"/>
                  </a:lnTo>
                  <a:lnTo>
                    <a:pt x="255" y="775"/>
                  </a:lnTo>
                  <a:lnTo>
                    <a:pt x="197" y="760"/>
                  </a:lnTo>
                  <a:lnTo>
                    <a:pt x="178" y="732"/>
                  </a:lnTo>
                  <a:lnTo>
                    <a:pt x="159" y="663"/>
                  </a:lnTo>
                  <a:lnTo>
                    <a:pt x="143" y="627"/>
                  </a:lnTo>
                  <a:lnTo>
                    <a:pt x="120" y="608"/>
                  </a:lnTo>
                  <a:lnTo>
                    <a:pt x="123" y="582"/>
                  </a:lnTo>
                  <a:lnTo>
                    <a:pt x="138" y="542"/>
                  </a:lnTo>
                  <a:lnTo>
                    <a:pt x="146" y="496"/>
                  </a:lnTo>
                  <a:lnTo>
                    <a:pt x="131" y="450"/>
                  </a:lnTo>
                  <a:lnTo>
                    <a:pt x="128" y="407"/>
                  </a:lnTo>
                  <a:lnTo>
                    <a:pt x="108" y="380"/>
                  </a:lnTo>
                  <a:lnTo>
                    <a:pt x="77" y="380"/>
                  </a:lnTo>
                  <a:lnTo>
                    <a:pt x="42" y="361"/>
                  </a:lnTo>
                  <a:lnTo>
                    <a:pt x="23" y="302"/>
                  </a:lnTo>
                  <a:lnTo>
                    <a:pt x="26" y="260"/>
                  </a:lnTo>
                  <a:lnTo>
                    <a:pt x="19" y="228"/>
                  </a:lnTo>
                  <a:lnTo>
                    <a:pt x="0" y="209"/>
                  </a:lnTo>
                  <a:lnTo>
                    <a:pt x="19" y="190"/>
                  </a:lnTo>
                  <a:lnTo>
                    <a:pt x="77" y="186"/>
                  </a:lnTo>
                  <a:lnTo>
                    <a:pt x="97" y="166"/>
                  </a:lnTo>
                  <a:lnTo>
                    <a:pt x="39" y="150"/>
                  </a:lnTo>
                  <a:lnTo>
                    <a:pt x="26" y="117"/>
                  </a:lnTo>
                  <a:lnTo>
                    <a:pt x="34" y="92"/>
                  </a:lnTo>
                  <a:lnTo>
                    <a:pt x="62" y="81"/>
                  </a:lnTo>
                  <a:lnTo>
                    <a:pt x="92" y="73"/>
                  </a:lnTo>
                  <a:lnTo>
                    <a:pt x="108" y="59"/>
                  </a:lnTo>
                  <a:lnTo>
                    <a:pt x="112" y="15"/>
                  </a:lnTo>
                  <a:lnTo>
                    <a:pt x="116" y="0"/>
                  </a:lnTo>
                  <a:close/>
                </a:path>
              </a:pathLst>
            </a:custGeom>
            <a:noFill/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5" name="Google Shape;598;p19">
              <a:extLst>
                <a:ext uri="{FF2B5EF4-FFF2-40B4-BE49-F238E27FC236}">
                  <a16:creationId xmlns:a16="http://schemas.microsoft.com/office/drawing/2014/main" id="{175AB5E3-B0A7-4381-A49A-68F73BBD07E6}"/>
                </a:ext>
              </a:extLst>
            </p:cNvPr>
            <p:cNvSpPr/>
            <p:nvPr/>
          </p:nvSpPr>
          <p:spPr>
            <a:xfrm>
              <a:off x="3468" y="2269"/>
              <a:ext cx="134" cy="204"/>
            </a:xfrm>
            <a:custGeom>
              <a:avLst/>
              <a:gdLst/>
              <a:ahLst/>
              <a:cxnLst/>
              <a:rect l="l" t="t" r="r" b="b"/>
              <a:pathLst>
                <a:path w="473" h="775" extrusionOk="0">
                  <a:moveTo>
                    <a:pt x="116" y="0"/>
                  </a:moveTo>
                  <a:lnTo>
                    <a:pt x="181" y="3"/>
                  </a:lnTo>
                  <a:lnTo>
                    <a:pt x="201" y="7"/>
                  </a:lnTo>
                  <a:lnTo>
                    <a:pt x="229" y="15"/>
                  </a:lnTo>
                  <a:lnTo>
                    <a:pt x="240" y="26"/>
                  </a:lnTo>
                  <a:lnTo>
                    <a:pt x="286" y="89"/>
                  </a:lnTo>
                  <a:lnTo>
                    <a:pt x="305" y="109"/>
                  </a:lnTo>
                  <a:lnTo>
                    <a:pt x="328" y="131"/>
                  </a:lnTo>
                  <a:lnTo>
                    <a:pt x="341" y="155"/>
                  </a:lnTo>
                  <a:lnTo>
                    <a:pt x="352" y="183"/>
                  </a:lnTo>
                  <a:lnTo>
                    <a:pt x="372" y="209"/>
                  </a:lnTo>
                  <a:lnTo>
                    <a:pt x="379" y="217"/>
                  </a:lnTo>
                  <a:lnTo>
                    <a:pt x="392" y="228"/>
                  </a:lnTo>
                  <a:lnTo>
                    <a:pt x="415" y="244"/>
                  </a:lnTo>
                  <a:lnTo>
                    <a:pt x="402" y="251"/>
                  </a:lnTo>
                  <a:lnTo>
                    <a:pt x="387" y="313"/>
                  </a:lnTo>
                  <a:lnTo>
                    <a:pt x="379" y="338"/>
                  </a:lnTo>
                  <a:lnTo>
                    <a:pt x="361" y="357"/>
                  </a:lnTo>
                  <a:lnTo>
                    <a:pt x="344" y="368"/>
                  </a:lnTo>
                  <a:lnTo>
                    <a:pt x="325" y="371"/>
                  </a:lnTo>
                  <a:lnTo>
                    <a:pt x="314" y="391"/>
                  </a:lnTo>
                  <a:lnTo>
                    <a:pt x="325" y="415"/>
                  </a:lnTo>
                  <a:lnTo>
                    <a:pt x="334" y="442"/>
                  </a:lnTo>
                  <a:lnTo>
                    <a:pt x="334" y="481"/>
                  </a:lnTo>
                  <a:lnTo>
                    <a:pt x="364" y="523"/>
                  </a:lnTo>
                  <a:lnTo>
                    <a:pt x="410" y="559"/>
                  </a:lnTo>
                  <a:lnTo>
                    <a:pt x="435" y="593"/>
                  </a:lnTo>
                  <a:lnTo>
                    <a:pt x="442" y="640"/>
                  </a:lnTo>
                  <a:lnTo>
                    <a:pt x="473" y="659"/>
                  </a:lnTo>
                  <a:lnTo>
                    <a:pt x="406" y="698"/>
                  </a:lnTo>
                  <a:lnTo>
                    <a:pt x="352" y="757"/>
                  </a:lnTo>
                  <a:lnTo>
                    <a:pt x="321" y="775"/>
                  </a:lnTo>
                  <a:lnTo>
                    <a:pt x="255" y="775"/>
                  </a:lnTo>
                  <a:lnTo>
                    <a:pt x="197" y="760"/>
                  </a:lnTo>
                  <a:lnTo>
                    <a:pt x="178" y="732"/>
                  </a:lnTo>
                  <a:lnTo>
                    <a:pt x="159" y="663"/>
                  </a:lnTo>
                  <a:lnTo>
                    <a:pt x="143" y="627"/>
                  </a:lnTo>
                  <a:lnTo>
                    <a:pt x="120" y="608"/>
                  </a:lnTo>
                  <a:lnTo>
                    <a:pt x="123" y="582"/>
                  </a:lnTo>
                  <a:lnTo>
                    <a:pt x="138" y="542"/>
                  </a:lnTo>
                  <a:lnTo>
                    <a:pt x="146" y="496"/>
                  </a:lnTo>
                  <a:lnTo>
                    <a:pt x="131" y="450"/>
                  </a:lnTo>
                  <a:lnTo>
                    <a:pt x="128" y="407"/>
                  </a:lnTo>
                  <a:lnTo>
                    <a:pt x="108" y="380"/>
                  </a:lnTo>
                  <a:lnTo>
                    <a:pt x="77" y="380"/>
                  </a:lnTo>
                  <a:lnTo>
                    <a:pt x="42" y="361"/>
                  </a:lnTo>
                  <a:lnTo>
                    <a:pt x="23" y="302"/>
                  </a:lnTo>
                  <a:lnTo>
                    <a:pt x="26" y="260"/>
                  </a:lnTo>
                  <a:lnTo>
                    <a:pt x="19" y="228"/>
                  </a:lnTo>
                  <a:lnTo>
                    <a:pt x="0" y="209"/>
                  </a:lnTo>
                  <a:lnTo>
                    <a:pt x="19" y="190"/>
                  </a:lnTo>
                  <a:lnTo>
                    <a:pt x="77" y="186"/>
                  </a:lnTo>
                  <a:lnTo>
                    <a:pt x="97" y="166"/>
                  </a:lnTo>
                  <a:lnTo>
                    <a:pt x="39" y="150"/>
                  </a:lnTo>
                  <a:lnTo>
                    <a:pt x="26" y="117"/>
                  </a:lnTo>
                  <a:lnTo>
                    <a:pt x="34" y="92"/>
                  </a:lnTo>
                  <a:lnTo>
                    <a:pt x="62" y="81"/>
                  </a:lnTo>
                  <a:lnTo>
                    <a:pt x="92" y="73"/>
                  </a:lnTo>
                  <a:lnTo>
                    <a:pt x="108" y="59"/>
                  </a:lnTo>
                  <a:lnTo>
                    <a:pt x="112" y="15"/>
                  </a:lnTo>
                  <a:lnTo>
                    <a:pt x="116" y="0"/>
                  </a:lnTo>
                </a:path>
              </a:pathLst>
            </a:custGeom>
            <a:solidFill>
              <a:srgbClr val="D4F0FB"/>
            </a:solidFill>
            <a:ln w="12700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6" name="Google Shape;599;p19">
              <a:extLst>
                <a:ext uri="{FF2B5EF4-FFF2-40B4-BE49-F238E27FC236}">
                  <a16:creationId xmlns:a16="http://schemas.microsoft.com/office/drawing/2014/main" id="{D5837138-B30D-420A-B642-63A4C1E390D1}"/>
                </a:ext>
              </a:extLst>
            </p:cNvPr>
            <p:cNvSpPr/>
            <p:nvPr/>
          </p:nvSpPr>
          <p:spPr>
            <a:xfrm>
              <a:off x="3555" y="2324"/>
              <a:ext cx="122" cy="117"/>
            </a:xfrm>
            <a:custGeom>
              <a:avLst/>
              <a:gdLst/>
              <a:ahLst/>
              <a:cxnLst/>
              <a:rect l="l" t="t" r="r" b="b"/>
              <a:pathLst>
                <a:path w="427" h="450" extrusionOk="0">
                  <a:moveTo>
                    <a:pt x="100" y="34"/>
                  </a:moveTo>
                  <a:lnTo>
                    <a:pt x="143" y="41"/>
                  </a:lnTo>
                  <a:lnTo>
                    <a:pt x="202" y="22"/>
                  </a:lnTo>
                  <a:lnTo>
                    <a:pt x="224" y="22"/>
                  </a:lnTo>
                  <a:lnTo>
                    <a:pt x="283" y="15"/>
                  </a:lnTo>
                  <a:lnTo>
                    <a:pt x="344" y="0"/>
                  </a:lnTo>
                  <a:lnTo>
                    <a:pt x="427" y="0"/>
                  </a:lnTo>
                  <a:lnTo>
                    <a:pt x="414" y="0"/>
                  </a:lnTo>
                  <a:lnTo>
                    <a:pt x="395" y="22"/>
                  </a:lnTo>
                  <a:lnTo>
                    <a:pt x="368" y="77"/>
                  </a:lnTo>
                  <a:lnTo>
                    <a:pt x="361" y="96"/>
                  </a:lnTo>
                  <a:lnTo>
                    <a:pt x="361" y="115"/>
                  </a:lnTo>
                  <a:lnTo>
                    <a:pt x="361" y="135"/>
                  </a:lnTo>
                  <a:lnTo>
                    <a:pt x="372" y="158"/>
                  </a:lnTo>
                  <a:lnTo>
                    <a:pt x="395" y="201"/>
                  </a:lnTo>
                  <a:lnTo>
                    <a:pt x="410" y="236"/>
                  </a:lnTo>
                  <a:lnTo>
                    <a:pt x="407" y="271"/>
                  </a:lnTo>
                  <a:lnTo>
                    <a:pt x="387" y="305"/>
                  </a:lnTo>
                  <a:lnTo>
                    <a:pt x="344" y="363"/>
                  </a:lnTo>
                  <a:lnTo>
                    <a:pt x="337" y="348"/>
                  </a:lnTo>
                  <a:lnTo>
                    <a:pt x="318" y="353"/>
                  </a:lnTo>
                  <a:lnTo>
                    <a:pt x="298" y="353"/>
                  </a:lnTo>
                  <a:lnTo>
                    <a:pt x="293" y="383"/>
                  </a:lnTo>
                  <a:lnTo>
                    <a:pt x="271" y="395"/>
                  </a:lnTo>
                  <a:lnTo>
                    <a:pt x="252" y="371"/>
                  </a:lnTo>
                  <a:lnTo>
                    <a:pt x="224" y="371"/>
                  </a:lnTo>
                  <a:lnTo>
                    <a:pt x="206" y="411"/>
                  </a:lnTo>
                  <a:lnTo>
                    <a:pt x="189" y="437"/>
                  </a:lnTo>
                  <a:lnTo>
                    <a:pt x="163" y="450"/>
                  </a:lnTo>
                  <a:lnTo>
                    <a:pt x="132" y="430"/>
                  </a:lnTo>
                  <a:lnTo>
                    <a:pt x="125" y="383"/>
                  </a:lnTo>
                  <a:lnTo>
                    <a:pt x="100" y="348"/>
                  </a:lnTo>
                  <a:lnTo>
                    <a:pt x="54" y="317"/>
                  </a:lnTo>
                  <a:lnTo>
                    <a:pt x="24" y="271"/>
                  </a:lnTo>
                  <a:lnTo>
                    <a:pt x="24" y="236"/>
                  </a:lnTo>
                  <a:lnTo>
                    <a:pt x="11" y="205"/>
                  </a:lnTo>
                  <a:lnTo>
                    <a:pt x="0" y="185"/>
                  </a:lnTo>
                  <a:lnTo>
                    <a:pt x="11" y="165"/>
                  </a:lnTo>
                  <a:lnTo>
                    <a:pt x="34" y="158"/>
                  </a:lnTo>
                  <a:lnTo>
                    <a:pt x="51" y="151"/>
                  </a:lnTo>
                  <a:lnTo>
                    <a:pt x="69" y="127"/>
                  </a:lnTo>
                  <a:lnTo>
                    <a:pt x="74" y="104"/>
                  </a:lnTo>
                  <a:lnTo>
                    <a:pt x="92" y="41"/>
                  </a:lnTo>
                  <a:lnTo>
                    <a:pt x="100" y="34"/>
                  </a:lnTo>
                  <a:close/>
                </a:path>
              </a:pathLst>
            </a:custGeom>
            <a:noFill/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7" name="Google Shape;600;p19">
              <a:extLst>
                <a:ext uri="{FF2B5EF4-FFF2-40B4-BE49-F238E27FC236}">
                  <a16:creationId xmlns:a16="http://schemas.microsoft.com/office/drawing/2014/main" id="{80E1E83F-A1BF-4437-B46C-758C79CBB20A}"/>
                </a:ext>
              </a:extLst>
            </p:cNvPr>
            <p:cNvSpPr/>
            <p:nvPr/>
          </p:nvSpPr>
          <p:spPr>
            <a:xfrm>
              <a:off x="3555" y="2324"/>
              <a:ext cx="122" cy="117"/>
            </a:xfrm>
            <a:custGeom>
              <a:avLst/>
              <a:gdLst/>
              <a:ahLst/>
              <a:cxnLst/>
              <a:rect l="l" t="t" r="r" b="b"/>
              <a:pathLst>
                <a:path w="427" h="450" extrusionOk="0">
                  <a:moveTo>
                    <a:pt x="100" y="34"/>
                  </a:moveTo>
                  <a:lnTo>
                    <a:pt x="143" y="41"/>
                  </a:lnTo>
                  <a:lnTo>
                    <a:pt x="202" y="22"/>
                  </a:lnTo>
                  <a:lnTo>
                    <a:pt x="224" y="22"/>
                  </a:lnTo>
                  <a:lnTo>
                    <a:pt x="283" y="15"/>
                  </a:lnTo>
                  <a:lnTo>
                    <a:pt x="344" y="0"/>
                  </a:lnTo>
                  <a:lnTo>
                    <a:pt x="427" y="0"/>
                  </a:lnTo>
                  <a:lnTo>
                    <a:pt x="414" y="0"/>
                  </a:lnTo>
                  <a:lnTo>
                    <a:pt x="395" y="22"/>
                  </a:lnTo>
                  <a:lnTo>
                    <a:pt x="368" y="77"/>
                  </a:lnTo>
                  <a:lnTo>
                    <a:pt x="361" y="96"/>
                  </a:lnTo>
                  <a:lnTo>
                    <a:pt x="361" y="115"/>
                  </a:lnTo>
                  <a:lnTo>
                    <a:pt x="361" y="135"/>
                  </a:lnTo>
                  <a:lnTo>
                    <a:pt x="372" y="158"/>
                  </a:lnTo>
                  <a:lnTo>
                    <a:pt x="395" y="201"/>
                  </a:lnTo>
                  <a:lnTo>
                    <a:pt x="410" y="236"/>
                  </a:lnTo>
                  <a:lnTo>
                    <a:pt x="407" y="271"/>
                  </a:lnTo>
                  <a:lnTo>
                    <a:pt x="387" y="305"/>
                  </a:lnTo>
                  <a:lnTo>
                    <a:pt x="344" y="363"/>
                  </a:lnTo>
                  <a:lnTo>
                    <a:pt x="337" y="348"/>
                  </a:lnTo>
                  <a:lnTo>
                    <a:pt x="318" y="353"/>
                  </a:lnTo>
                  <a:lnTo>
                    <a:pt x="298" y="353"/>
                  </a:lnTo>
                  <a:lnTo>
                    <a:pt x="293" y="383"/>
                  </a:lnTo>
                  <a:lnTo>
                    <a:pt x="271" y="395"/>
                  </a:lnTo>
                  <a:lnTo>
                    <a:pt x="252" y="371"/>
                  </a:lnTo>
                  <a:lnTo>
                    <a:pt x="224" y="371"/>
                  </a:lnTo>
                  <a:lnTo>
                    <a:pt x="206" y="411"/>
                  </a:lnTo>
                  <a:lnTo>
                    <a:pt x="189" y="437"/>
                  </a:lnTo>
                  <a:lnTo>
                    <a:pt x="163" y="450"/>
                  </a:lnTo>
                  <a:lnTo>
                    <a:pt x="132" y="430"/>
                  </a:lnTo>
                  <a:lnTo>
                    <a:pt x="125" y="383"/>
                  </a:lnTo>
                  <a:lnTo>
                    <a:pt x="100" y="348"/>
                  </a:lnTo>
                  <a:lnTo>
                    <a:pt x="54" y="317"/>
                  </a:lnTo>
                  <a:lnTo>
                    <a:pt x="24" y="271"/>
                  </a:lnTo>
                  <a:lnTo>
                    <a:pt x="24" y="236"/>
                  </a:lnTo>
                  <a:lnTo>
                    <a:pt x="11" y="205"/>
                  </a:lnTo>
                  <a:lnTo>
                    <a:pt x="0" y="185"/>
                  </a:lnTo>
                  <a:lnTo>
                    <a:pt x="11" y="165"/>
                  </a:lnTo>
                  <a:lnTo>
                    <a:pt x="34" y="158"/>
                  </a:lnTo>
                  <a:lnTo>
                    <a:pt x="51" y="151"/>
                  </a:lnTo>
                  <a:lnTo>
                    <a:pt x="69" y="127"/>
                  </a:lnTo>
                  <a:lnTo>
                    <a:pt x="74" y="104"/>
                  </a:lnTo>
                  <a:lnTo>
                    <a:pt x="92" y="41"/>
                  </a:lnTo>
                  <a:lnTo>
                    <a:pt x="100" y="34"/>
                  </a:lnTo>
                </a:path>
              </a:pathLst>
            </a:custGeom>
            <a:solidFill>
              <a:srgbClr val="D4F0FB"/>
            </a:solidFill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8" name="Google Shape;601;p19">
              <a:extLst>
                <a:ext uri="{FF2B5EF4-FFF2-40B4-BE49-F238E27FC236}">
                  <a16:creationId xmlns:a16="http://schemas.microsoft.com/office/drawing/2014/main" id="{1321B71F-BFF7-446A-82A8-F8BF75F15CE2}"/>
                </a:ext>
              </a:extLst>
            </p:cNvPr>
            <p:cNvSpPr/>
            <p:nvPr/>
          </p:nvSpPr>
          <p:spPr>
            <a:xfrm>
              <a:off x="3650" y="2324"/>
              <a:ext cx="97" cy="116"/>
            </a:xfrm>
            <a:custGeom>
              <a:avLst/>
              <a:gdLst/>
              <a:ahLst/>
              <a:cxnLst/>
              <a:rect l="l" t="t" r="r" b="b"/>
              <a:pathLst>
                <a:path w="342" h="441" extrusionOk="0">
                  <a:moveTo>
                    <a:pt x="94" y="0"/>
                  </a:moveTo>
                  <a:lnTo>
                    <a:pt x="214" y="7"/>
                  </a:lnTo>
                  <a:lnTo>
                    <a:pt x="236" y="7"/>
                  </a:lnTo>
                  <a:lnTo>
                    <a:pt x="255" y="22"/>
                  </a:lnTo>
                  <a:lnTo>
                    <a:pt x="298" y="58"/>
                  </a:lnTo>
                  <a:lnTo>
                    <a:pt x="318" y="65"/>
                  </a:lnTo>
                  <a:lnTo>
                    <a:pt x="336" y="81"/>
                  </a:lnTo>
                  <a:lnTo>
                    <a:pt x="342" y="96"/>
                  </a:lnTo>
                  <a:lnTo>
                    <a:pt x="314" y="142"/>
                  </a:lnTo>
                  <a:lnTo>
                    <a:pt x="268" y="193"/>
                  </a:lnTo>
                  <a:lnTo>
                    <a:pt x="255" y="236"/>
                  </a:lnTo>
                  <a:lnTo>
                    <a:pt x="255" y="305"/>
                  </a:lnTo>
                  <a:lnTo>
                    <a:pt x="236" y="371"/>
                  </a:lnTo>
                  <a:lnTo>
                    <a:pt x="194" y="441"/>
                  </a:lnTo>
                  <a:lnTo>
                    <a:pt x="171" y="441"/>
                  </a:lnTo>
                  <a:lnTo>
                    <a:pt x="148" y="411"/>
                  </a:lnTo>
                  <a:lnTo>
                    <a:pt x="116" y="387"/>
                  </a:lnTo>
                  <a:lnTo>
                    <a:pt x="94" y="395"/>
                  </a:lnTo>
                  <a:lnTo>
                    <a:pt x="54" y="417"/>
                  </a:lnTo>
                  <a:lnTo>
                    <a:pt x="23" y="430"/>
                  </a:lnTo>
                  <a:lnTo>
                    <a:pt x="0" y="414"/>
                  </a:lnTo>
                  <a:lnTo>
                    <a:pt x="16" y="368"/>
                  </a:lnTo>
                  <a:lnTo>
                    <a:pt x="54" y="305"/>
                  </a:lnTo>
                  <a:lnTo>
                    <a:pt x="77" y="275"/>
                  </a:lnTo>
                  <a:lnTo>
                    <a:pt x="81" y="236"/>
                  </a:lnTo>
                  <a:lnTo>
                    <a:pt x="62" y="205"/>
                  </a:lnTo>
                  <a:lnTo>
                    <a:pt x="39" y="162"/>
                  </a:lnTo>
                  <a:lnTo>
                    <a:pt x="31" y="139"/>
                  </a:lnTo>
                  <a:lnTo>
                    <a:pt x="28" y="120"/>
                  </a:lnTo>
                  <a:lnTo>
                    <a:pt x="28" y="100"/>
                  </a:lnTo>
                  <a:lnTo>
                    <a:pt x="35" y="81"/>
                  </a:lnTo>
                  <a:lnTo>
                    <a:pt x="62" y="26"/>
                  </a:lnTo>
                  <a:lnTo>
                    <a:pt x="81" y="0"/>
                  </a:lnTo>
                  <a:lnTo>
                    <a:pt x="94" y="0"/>
                  </a:lnTo>
                  <a:close/>
                </a:path>
              </a:pathLst>
            </a:custGeom>
            <a:noFill/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9" name="Google Shape;602;p19">
              <a:extLst>
                <a:ext uri="{FF2B5EF4-FFF2-40B4-BE49-F238E27FC236}">
                  <a16:creationId xmlns:a16="http://schemas.microsoft.com/office/drawing/2014/main" id="{1D850F32-DB15-4747-8005-61E9C599AB98}"/>
                </a:ext>
              </a:extLst>
            </p:cNvPr>
            <p:cNvSpPr/>
            <p:nvPr/>
          </p:nvSpPr>
          <p:spPr>
            <a:xfrm>
              <a:off x="3650" y="2324"/>
              <a:ext cx="97" cy="116"/>
            </a:xfrm>
            <a:custGeom>
              <a:avLst/>
              <a:gdLst/>
              <a:ahLst/>
              <a:cxnLst/>
              <a:rect l="l" t="t" r="r" b="b"/>
              <a:pathLst>
                <a:path w="342" h="441" extrusionOk="0">
                  <a:moveTo>
                    <a:pt x="94" y="0"/>
                  </a:moveTo>
                  <a:lnTo>
                    <a:pt x="214" y="7"/>
                  </a:lnTo>
                  <a:lnTo>
                    <a:pt x="236" y="7"/>
                  </a:lnTo>
                  <a:lnTo>
                    <a:pt x="255" y="22"/>
                  </a:lnTo>
                  <a:lnTo>
                    <a:pt x="298" y="58"/>
                  </a:lnTo>
                  <a:lnTo>
                    <a:pt x="318" y="65"/>
                  </a:lnTo>
                  <a:lnTo>
                    <a:pt x="336" y="81"/>
                  </a:lnTo>
                  <a:lnTo>
                    <a:pt x="342" y="96"/>
                  </a:lnTo>
                  <a:lnTo>
                    <a:pt x="314" y="142"/>
                  </a:lnTo>
                  <a:lnTo>
                    <a:pt x="268" y="193"/>
                  </a:lnTo>
                  <a:lnTo>
                    <a:pt x="255" y="236"/>
                  </a:lnTo>
                  <a:lnTo>
                    <a:pt x="255" y="305"/>
                  </a:lnTo>
                  <a:lnTo>
                    <a:pt x="236" y="371"/>
                  </a:lnTo>
                  <a:lnTo>
                    <a:pt x="194" y="441"/>
                  </a:lnTo>
                  <a:lnTo>
                    <a:pt x="171" y="441"/>
                  </a:lnTo>
                  <a:lnTo>
                    <a:pt x="148" y="411"/>
                  </a:lnTo>
                  <a:lnTo>
                    <a:pt x="116" y="387"/>
                  </a:lnTo>
                  <a:lnTo>
                    <a:pt x="94" y="395"/>
                  </a:lnTo>
                  <a:lnTo>
                    <a:pt x="54" y="417"/>
                  </a:lnTo>
                  <a:lnTo>
                    <a:pt x="23" y="430"/>
                  </a:lnTo>
                  <a:lnTo>
                    <a:pt x="0" y="414"/>
                  </a:lnTo>
                  <a:lnTo>
                    <a:pt x="16" y="368"/>
                  </a:lnTo>
                  <a:lnTo>
                    <a:pt x="54" y="305"/>
                  </a:lnTo>
                  <a:lnTo>
                    <a:pt x="77" y="275"/>
                  </a:lnTo>
                  <a:lnTo>
                    <a:pt x="81" y="236"/>
                  </a:lnTo>
                  <a:lnTo>
                    <a:pt x="62" y="205"/>
                  </a:lnTo>
                  <a:lnTo>
                    <a:pt x="39" y="162"/>
                  </a:lnTo>
                  <a:lnTo>
                    <a:pt x="31" y="139"/>
                  </a:lnTo>
                  <a:lnTo>
                    <a:pt x="28" y="120"/>
                  </a:lnTo>
                  <a:lnTo>
                    <a:pt x="28" y="100"/>
                  </a:lnTo>
                  <a:lnTo>
                    <a:pt x="35" y="81"/>
                  </a:lnTo>
                  <a:lnTo>
                    <a:pt x="62" y="26"/>
                  </a:lnTo>
                  <a:lnTo>
                    <a:pt x="81" y="0"/>
                  </a:lnTo>
                  <a:lnTo>
                    <a:pt x="94" y="0"/>
                  </a:lnTo>
                </a:path>
              </a:pathLst>
            </a:custGeom>
            <a:solidFill>
              <a:srgbClr val="D4F0FB"/>
            </a:solidFill>
            <a:ln w="12700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0" name="Google Shape;603;p19">
              <a:extLst>
                <a:ext uri="{FF2B5EF4-FFF2-40B4-BE49-F238E27FC236}">
                  <a16:creationId xmlns:a16="http://schemas.microsoft.com/office/drawing/2014/main" id="{68E9251F-1AB5-42D8-A1B8-2E27F1DDAA19}"/>
                </a:ext>
              </a:extLst>
            </p:cNvPr>
            <p:cNvSpPr/>
            <p:nvPr/>
          </p:nvSpPr>
          <p:spPr>
            <a:xfrm>
              <a:off x="3584" y="3273"/>
              <a:ext cx="145" cy="114"/>
            </a:xfrm>
            <a:custGeom>
              <a:avLst/>
              <a:gdLst/>
              <a:ahLst/>
              <a:cxnLst/>
              <a:rect l="l" t="t" r="r" b="b"/>
              <a:pathLst>
                <a:path w="512" h="433" extrusionOk="0">
                  <a:moveTo>
                    <a:pt x="0" y="403"/>
                  </a:moveTo>
                  <a:lnTo>
                    <a:pt x="8" y="400"/>
                  </a:lnTo>
                  <a:lnTo>
                    <a:pt x="32" y="400"/>
                  </a:lnTo>
                  <a:lnTo>
                    <a:pt x="70" y="410"/>
                  </a:lnTo>
                  <a:lnTo>
                    <a:pt x="112" y="414"/>
                  </a:lnTo>
                  <a:lnTo>
                    <a:pt x="152" y="423"/>
                  </a:lnTo>
                  <a:lnTo>
                    <a:pt x="233" y="430"/>
                  </a:lnTo>
                  <a:lnTo>
                    <a:pt x="280" y="433"/>
                  </a:lnTo>
                  <a:lnTo>
                    <a:pt x="338" y="430"/>
                  </a:lnTo>
                  <a:lnTo>
                    <a:pt x="396" y="410"/>
                  </a:lnTo>
                  <a:lnTo>
                    <a:pt x="443" y="387"/>
                  </a:lnTo>
                  <a:lnTo>
                    <a:pt x="482" y="364"/>
                  </a:lnTo>
                  <a:lnTo>
                    <a:pt x="512" y="344"/>
                  </a:lnTo>
                  <a:lnTo>
                    <a:pt x="482" y="265"/>
                  </a:lnTo>
                  <a:lnTo>
                    <a:pt x="488" y="206"/>
                  </a:lnTo>
                  <a:lnTo>
                    <a:pt x="478" y="179"/>
                  </a:lnTo>
                  <a:lnTo>
                    <a:pt x="440" y="179"/>
                  </a:lnTo>
                  <a:lnTo>
                    <a:pt x="424" y="159"/>
                  </a:lnTo>
                  <a:lnTo>
                    <a:pt x="416" y="128"/>
                  </a:lnTo>
                  <a:lnTo>
                    <a:pt x="388" y="93"/>
                  </a:lnTo>
                  <a:lnTo>
                    <a:pt x="345" y="72"/>
                  </a:lnTo>
                  <a:lnTo>
                    <a:pt x="284" y="72"/>
                  </a:lnTo>
                  <a:lnTo>
                    <a:pt x="256" y="57"/>
                  </a:lnTo>
                  <a:lnTo>
                    <a:pt x="222" y="11"/>
                  </a:lnTo>
                  <a:lnTo>
                    <a:pt x="187" y="0"/>
                  </a:lnTo>
                  <a:lnTo>
                    <a:pt x="97" y="4"/>
                  </a:lnTo>
                  <a:lnTo>
                    <a:pt x="109" y="4"/>
                  </a:lnTo>
                  <a:lnTo>
                    <a:pt x="58" y="97"/>
                  </a:lnTo>
                  <a:lnTo>
                    <a:pt x="43" y="179"/>
                  </a:lnTo>
                  <a:lnTo>
                    <a:pt x="55" y="252"/>
                  </a:lnTo>
                  <a:lnTo>
                    <a:pt x="35" y="272"/>
                  </a:lnTo>
                  <a:lnTo>
                    <a:pt x="0" y="272"/>
                  </a:lnTo>
                  <a:lnTo>
                    <a:pt x="15" y="299"/>
                  </a:lnTo>
                  <a:lnTo>
                    <a:pt x="20" y="353"/>
                  </a:lnTo>
                  <a:lnTo>
                    <a:pt x="5" y="403"/>
                  </a:lnTo>
                  <a:lnTo>
                    <a:pt x="0" y="403"/>
                  </a:lnTo>
                  <a:close/>
                </a:path>
              </a:pathLst>
            </a:custGeom>
            <a:noFill/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1" name="Google Shape;604;p19">
              <a:extLst>
                <a:ext uri="{FF2B5EF4-FFF2-40B4-BE49-F238E27FC236}">
                  <a16:creationId xmlns:a16="http://schemas.microsoft.com/office/drawing/2014/main" id="{5705B71A-2554-49E8-8FC6-3BEFFADEB081}"/>
                </a:ext>
              </a:extLst>
            </p:cNvPr>
            <p:cNvSpPr/>
            <p:nvPr/>
          </p:nvSpPr>
          <p:spPr>
            <a:xfrm>
              <a:off x="3584" y="3273"/>
              <a:ext cx="145" cy="114"/>
            </a:xfrm>
            <a:custGeom>
              <a:avLst/>
              <a:gdLst/>
              <a:ahLst/>
              <a:cxnLst/>
              <a:rect l="l" t="t" r="r" b="b"/>
              <a:pathLst>
                <a:path w="512" h="433" extrusionOk="0">
                  <a:moveTo>
                    <a:pt x="0" y="403"/>
                  </a:moveTo>
                  <a:lnTo>
                    <a:pt x="8" y="400"/>
                  </a:lnTo>
                  <a:lnTo>
                    <a:pt x="32" y="400"/>
                  </a:lnTo>
                  <a:lnTo>
                    <a:pt x="70" y="410"/>
                  </a:lnTo>
                  <a:lnTo>
                    <a:pt x="112" y="414"/>
                  </a:lnTo>
                  <a:lnTo>
                    <a:pt x="152" y="423"/>
                  </a:lnTo>
                  <a:lnTo>
                    <a:pt x="233" y="430"/>
                  </a:lnTo>
                  <a:lnTo>
                    <a:pt x="280" y="433"/>
                  </a:lnTo>
                  <a:lnTo>
                    <a:pt x="338" y="430"/>
                  </a:lnTo>
                  <a:lnTo>
                    <a:pt x="396" y="410"/>
                  </a:lnTo>
                  <a:lnTo>
                    <a:pt x="443" y="387"/>
                  </a:lnTo>
                  <a:lnTo>
                    <a:pt x="482" y="364"/>
                  </a:lnTo>
                  <a:lnTo>
                    <a:pt x="512" y="344"/>
                  </a:lnTo>
                  <a:lnTo>
                    <a:pt x="482" y="265"/>
                  </a:lnTo>
                  <a:lnTo>
                    <a:pt x="488" y="206"/>
                  </a:lnTo>
                  <a:lnTo>
                    <a:pt x="478" y="179"/>
                  </a:lnTo>
                  <a:lnTo>
                    <a:pt x="440" y="179"/>
                  </a:lnTo>
                  <a:lnTo>
                    <a:pt x="424" y="159"/>
                  </a:lnTo>
                  <a:lnTo>
                    <a:pt x="416" y="128"/>
                  </a:lnTo>
                  <a:lnTo>
                    <a:pt x="388" y="93"/>
                  </a:lnTo>
                  <a:lnTo>
                    <a:pt x="345" y="72"/>
                  </a:lnTo>
                  <a:lnTo>
                    <a:pt x="284" y="72"/>
                  </a:lnTo>
                  <a:lnTo>
                    <a:pt x="256" y="57"/>
                  </a:lnTo>
                  <a:lnTo>
                    <a:pt x="222" y="11"/>
                  </a:lnTo>
                  <a:lnTo>
                    <a:pt x="187" y="0"/>
                  </a:lnTo>
                  <a:lnTo>
                    <a:pt x="97" y="4"/>
                  </a:lnTo>
                  <a:lnTo>
                    <a:pt x="109" y="4"/>
                  </a:lnTo>
                  <a:lnTo>
                    <a:pt x="58" y="97"/>
                  </a:lnTo>
                  <a:lnTo>
                    <a:pt x="43" y="179"/>
                  </a:lnTo>
                  <a:lnTo>
                    <a:pt x="55" y="252"/>
                  </a:lnTo>
                  <a:lnTo>
                    <a:pt x="35" y="272"/>
                  </a:lnTo>
                  <a:lnTo>
                    <a:pt x="0" y="272"/>
                  </a:lnTo>
                  <a:lnTo>
                    <a:pt x="15" y="299"/>
                  </a:lnTo>
                  <a:lnTo>
                    <a:pt x="20" y="353"/>
                  </a:lnTo>
                  <a:lnTo>
                    <a:pt x="5" y="403"/>
                  </a:lnTo>
                  <a:lnTo>
                    <a:pt x="0" y="403"/>
                  </a:lnTo>
                </a:path>
              </a:pathLst>
            </a:custGeom>
            <a:solidFill>
              <a:srgbClr val="D4F0FB"/>
            </a:solidFill>
            <a:ln w="12700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2" name="Google Shape;605;p19">
              <a:extLst>
                <a:ext uri="{FF2B5EF4-FFF2-40B4-BE49-F238E27FC236}">
                  <a16:creationId xmlns:a16="http://schemas.microsoft.com/office/drawing/2014/main" id="{8D5F8D9F-6950-4625-8890-76F14EF79078}"/>
                </a:ext>
              </a:extLst>
            </p:cNvPr>
            <p:cNvSpPr/>
            <p:nvPr/>
          </p:nvSpPr>
          <p:spPr>
            <a:xfrm>
              <a:off x="3486" y="3001"/>
              <a:ext cx="215" cy="200"/>
            </a:xfrm>
            <a:custGeom>
              <a:avLst/>
              <a:gdLst/>
              <a:ahLst/>
              <a:cxnLst/>
              <a:rect l="l" t="t" r="r" b="b"/>
              <a:pathLst>
                <a:path w="755" h="760" extrusionOk="0">
                  <a:moveTo>
                    <a:pt x="721" y="578"/>
                  </a:moveTo>
                  <a:lnTo>
                    <a:pt x="709" y="612"/>
                  </a:lnTo>
                  <a:lnTo>
                    <a:pt x="713" y="693"/>
                  </a:lnTo>
                  <a:lnTo>
                    <a:pt x="702" y="709"/>
                  </a:lnTo>
                  <a:lnTo>
                    <a:pt x="608" y="733"/>
                  </a:lnTo>
                  <a:lnTo>
                    <a:pt x="566" y="760"/>
                  </a:lnTo>
                  <a:lnTo>
                    <a:pt x="527" y="760"/>
                  </a:lnTo>
                  <a:lnTo>
                    <a:pt x="465" y="752"/>
                  </a:lnTo>
                  <a:lnTo>
                    <a:pt x="364" y="756"/>
                  </a:lnTo>
                  <a:lnTo>
                    <a:pt x="364" y="718"/>
                  </a:lnTo>
                  <a:lnTo>
                    <a:pt x="384" y="678"/>
                  </a:lnTo>
                  <a:lnTo>
                    <a:pt x="438" y="601"/>
                  </a:lnTo>
                  <a:lnTo>
                    <a:pt x="433" y="563"/>
                  </a:lnTo>
                  <a:lnTo>
                    <a:pt x="402" y="535"/>
                  </a:lnTo>
                  <a:lnTo>
                    <a:pt x="306" y="528"/>
                  </a:lnTo>
                  <a:lnTo>
                    <a:pt x="255" y="504"/>
                  </a:lnTo>
                  <a:lnTo>
                    <a:pt x="209" y="453"/>
                  </a:lnTo>
                  <a:lnTo>
                    <a:pt x="174" y="434"/>
                  </a:lnTo>
                  <a:lnTo>
                    <a:pt x="112" y="446"/>
                  </a:lnTo>
                  <a:lnTo>
                    <a:pt x="89" y="426"/>
                  </a:lnTo>
                  <a:lnTo>
                    <a:pt x="69" y="387"/>
                  </a:lnTo>
                  <a:lnTo>
                    <a:pt x="31" y="365"/>
                  </a:lnTo>
                  <a:lnTo>
                    <a:pt x="19" y="342"/>
                  </a:lnTo>
                  <a:lnTo>
                    <a:pt x="19" y="287"/>
                  </a:lnTo>
                  <a:lnTo>
                    <a:pt x="0" y="202"/>
                  </a:lnTo>
                  <a:lnTo>
                    <a:pt x="0" y="174"/>
                  </a:lnTo>
                  <a:lnTo>
                    <a:pt x="34" y="151"/>
                  </a:lnTo>
                  <a:lnTo>
                    <a:pt x="50" y="116"/>
                  </a:lnTo>
                  <a:lnTo>
                    <a:pt x="50" y="38"/>
                  </a:lnTo>
                  <a:lnTo>
                    <a:pt x="69" y="23"/>
                  </a:lnTo>
                  <a:lnTo>
                    <a:pt x="163" y="15"/>
                  </a:lnTo>
                  <a:lnTo>
                    <a:pt x="268" y="0"/>
                  </a:lnTo>
                  <a:lnTo>
                    <a:pt x="349" y="11"/>
                  </a:lnTo>
                  <a:lnTo>
                    <a:pt x="407" y="53"/>
                  </a:lnTo>
                  <a:lnTo>
                    <a:pt x="417" y="131"/>
                  </a:lnTo>
                  <a:lnTo>
                    <a:pt x="414" y="221"/>
                  </a:lnTo>
                  <a:lnTo>
                    <a:pt x="433" y="279"/>
                  </a:lnTo>
                  <a:lnTo>
                    <a:pt x="476" y="299"/>
                  </a:lnTo>
                  <a:lnTo>
                    <a:pt x="511" y="274"/>
                  </a:lnTo>
                  <a:lnTo>
                    <a:pt x="562" y="259"/>
                  </a:lnTo>
                  <a:lnTo>
                    <a:pt x="608" y="256"/>
                  </a:lnTo>
                  <a:lnTo>
                    <a:pt x="620" y="267"/>
                  </a:lnTo>
                  <a:lnTo>
                    <a:pt x="631" y="283"/>
                  </a:lnTo>
                  <a:lnTo>
                    <a:pt x="635" y="299"/>
                  </a:lnTo>
                  <a:lnTo>
                    <a:pt x="631" y="317"/>
                  </a:lnTo>
                  <a:lnTo>
                    <a:pt x="624" y="352"/>
                  </a:lnTo>
                  <a:lnTo>
                    <a:pt x="620" y="365"/>
                  </a:lnTo>
                  <a:lnTo>
                    <a:pt x="620" y="383"/>
                  </a:lnTo>
                  <a:lnTo>
                    <a:pt x="628" y="399"/>
                  </a:lnTo>
                  <a:lnTo>
                    <a:pt x="639" y="407"/>
                  </a:lnTo>
                  <a:lnTo>
                    <a:pt x="686" y="399"/>
                  </a:lnTo>
                  <a:lnTo>
                    <a:pt x="697" y="399"/>
                  </a:lnTo>
                  <a:lnTo>
                    <a:pt x="709" y="399"/>
                  </a:lnTo>
                  <a:lnTo>
                    <a:pt x="732" y="411"/>
                  </a:lnTo>
                  <a:lnTo>
                    <a:pt x="752" y="446"/>
                  </a:lnTo>
                  <a:lnTo>
                    <a:pt x="755" y="485"/>
                  </a:lnTo>
                  <a:lnTo>
                    <a:pt x="745" y="543"/>
                  </a:lnTo>
                  <a:lnTo>
                    <a:pt x="721" y="578"/>
                  </a:lnTo>
                  <a:close/>
                </a:path>
              </a:pathLst>
            </a:custGeom>
            <a:noFill/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3" name="Google Shape;606;p19">
              <a:extLst>
                <a:ext uri="{FF2B5EF4-FFF2-40B4-BE49-F238E27FC236}">
                  <a16:creationId xmlns:a16="http://schemas.microsoft.com/office/drawing/2014/main" id="{BA5CC93E-77DA-4651-8755-F395206DED05}"/>
                </a:ext>
              </a:extLst>
            </p:cNvPr>
            <p:cNvSpPr/>
            <p:nvPr/>
          </p:nvSpPr>
          <p:spPr>
            <a:xfrm>
              <a:off x="3261" y="2767"/>
              <a:ext cx="357" cy="349"/>
            </a:xfrm>
            <a:custGeom>
              <a:avLst/>
              <a:gdLst/>
              <a:ahLst/>
              <a:cxnLst/>
              <a:rect l="l" t="t" r="r" b="b"/>
              <a:pathLst>
                <a:path w="1257" h="1326" extrusionOk="0">
                  <a:moveTo>
                    <a:pt x="1202" y="938"/>
                  </a:moveTo>
                  <a:lnTo>
                    <a:pt x="1218" y="841"/>
                  </a:lnTo>
                  <a:lnTo>
                    <a:pt x="1245" y="783"/>
                  </a:lnTo>
                  <a:lnTo>
                    <a:pt x="1257" y="733"/>
                  </a:lnTo>
                  <a:lnTo>
                    <a:pt x="1233" y="705"/>
                  </a:lnTo>
                  <a:lnTo>
                    <a:pt x="1191" y="705"/>
                  </a:lnTo>
                  <a:lnTo>
                    <a:pt x="1179" y="671"/>
                  </a:lnTo>
                  <a:lnTo>
                    <a:pt x="1176" y="594"/>
                  </a:lnTo>
                  <a:lnTo>
                    <a:pt x="1161" y="573"/>
                  </a:lnTo>
                  <a:lnTo>
                    <a:pt x="1102" y="598"/>
                  </a:lnTo>
                  <a:lnTo>
                    <a:pt x="1028" y="598"/>
                  </a:lnTo>
                  <a:lnTo>
                    <a:pt x="989" y="582"/>
                  </a:lnTo>
                  <a:lnTo>
                    <a:pt x="970" y="524"/>
                  </a:lnTo>
                  <a:lnTo>
                    <a:pt x="912" y="484"/>
                  </a:lnTo>
                  <a:lnTo>
                    <a:pt x="915" y="477"/>
                  </a:lnTo>
                  <a:lnTo>
                    <a:pt x="966" y="465"/>
                  </a:lnTo>
                  <a:lnTo>
                    <a:pt x="970" y="442"/>
                  </a:lnTo>
                  <a:lnTo>
                    <a:pt x="943" y="410"/>
                  </a:lnTo>
                  <a:lnTo>
                    <a:pt x="930" y="348"/>
                  </a:lnTo>
                  <a:lnTo>
                    <a:pt x="872" y="352"/>
                  </a:lnTo>
                  <a:lnTo>
                    <a:pt x="854" y="337"/>
                  </a:lnTo>
                  <a:lnTo>
                    <a:pt x="815" y="334"/>
                  </a:lnTo>
                  <a:lnTo>
                    <a:pt x="760" y="352"/>
                  </a:lnTo>
                  <a:lnTo>
                    <a:pt x="745" y="344"/>
                  </a:lnTo>
                  <a:lnTo>
                    <a:pt x="706" y="287"/>
                  </a:lnTo>
                  <a:lnTo>
                    <a:pt x="675" y="267"/>
                  </a:lnTo>
                  <a:lnTo>
                    <a:pt x="613" y="283"/>
                  </a:lnTo>
                  <a:lnTo>
                    <a:pt x="590" y="275"/>
                  </a:lnTo>
                  <a:lnTo>
                    <a:pt x="571" y="237"/>
                  </a:lnTo>
                  <a:lnTo>
                    <a:pt x="551" y="221"/>
                  </a:lnTo>
                  <a:lnTo>
                    <a:pt x="450" y="214"/>
                  </a:lnTo>
                  <a:lnTo>
                    <a:pt x="419" y="182"/>
                  </a:lnTo>
                  <a:lnTo>
                    <a:pt x="416" y="131"/>
                  </a:lnTo>
                  <a:lnTo>
                    <a:pt x="439" y="46"/>
                  </a:lnTo>
                  <a:lnTo>
                    <a:pt x="431" y="16"/>
                  </a:lnTo>
                  <a:lnTo>
                    <a:pt x="396" y="0"/>
                  </a:lnTo>
                  <a:lnTo>
                    <a:pt x="341" y="16"/>
                  </a:lnTo>
                  <a:lnTo>
                    <a:pt x="276" y="59"/>
                  </a:lnTo>
                  <a:lnTo>
                    <a:pt x="264" y="136"/>
                  </a:lnTo>
                  <a:lnTo>
                    <a:pt x="259" y="159"/>
                  </a:lnTo>
                  <a:lnTo>
                    <a:pt x="249" y="174"/>
                  </a:lnTo>
                  <a:lnTo>
                    <a:pt x="234" y="170"/>
                  </a:lnTo>
                  <a:lnTo>
                    <a:pt x="195" y="156"/>
                  </a:lnTo>
                  <a:lnTo>
                    <a:pt x="171" y="156"/>
                  </a:lnTo>
                  <a:lnTo>
                    <a:pt x="163" y="182"/>
                  </a:lnTo>
                  <a:lnTo>
                    <a:pt x="159" y="199"/>
                  </a:lnTo>
                  <a:lnTo>
                    <a:pt x="152" y="214"/>
                  </a:lnTo>
                  <a:lnTo>
                    <a:pt x="136" y="217"/>
                  </a:lnTo>
                  <a:lnTo>
                    <a:pt x="114" y="217"/>
                  </a:lnTo>
                  <a:lnTo>
                    <a:pt x="97" y="214"/>
                  </a:lnTo>
                  <a:lnTo>
                    <a:pt x="59" y="194"/>
                  </a:lnTo>
                  <a:lnTo>
                    <a:pt x="0" y="199"/>
                  </a:lnTo>
                  <a:lnTo>
                    <a:pt x="43" y="232"/>
                  </a:lnTo>
                  <a:lnTo>
                    <a:pt x="78" y="310"/>
                  </a:lnTo>
                  <a:lnTo>
                    <a:pt x="82" y="344"/>
                  </a:lnTo>
                  <a:lnTo>
                    <a:pt x="70" y="377"/>
                  </a:lnTo>
                  <a:lnTo>
                    <a:pt x="51" y="407"/>
                  </a:lnTo>
                  <a:lnTo>
                    <a:pt x="70" y="474"/>
                  </a:lnTo>
                  <a:lnTo>
                    <a:pt x="74" y="508"/>
                  </a:lnTo>
                  <a:lnTo>
                    <a:pt x="46" y="558"/>
                  </a:lnTo>
                  <a:lnTo>
                    <a:pt x="43" y="598"/>
                  </a:lnTo>
                  <a:lnTo>
                    <a:pt x="55" y="639"/>
                  </a:lnTo>
                  <a:lnTo>
                    <a:pt x="74" y="659"/>
                  </a:lnTo>
                  <a:lnTo>
                    <a:pt x="101" y="694"/>
                  </a:lnTo>
                  <a:lnTo>
                    <a:pt x="109" y="724"/>
                  </a:lnTo>
                  <a:lnTo>
                    <a:pt x="104" y="748"/>
                  </a:lnTo>
                  <a:lnTo>
                    <a:pt x="101" y="756"/>
                  </a:lnTo>
                  <a:lnTo>
                    <a:pt x="86" y="760"/>
                  </a:lnTo>
                  <a:lnTo>
                    <a:pt x="31" y="767"/>
                  </a:lnTo>
                  <a:lnTo>
                    <a:pt x="31" y="826"/>
                  </a:lnTo>
                  <a:lnTo>
                    <a:pt x="70" y="860"/>
                  </a:lnTo>
                  <a:lnTo>
                    <a:pt x="89" y="899"/>
                  </a:lnTo>
                  <a:lnTo>
                    <a:pt x="97" y="954"/>
                  </a:lnTo>
                  <a:lnTo>
                    <a:pt x="129" y="974"/>
                  </a:lnTo>
                  <a:lnTo>
                    <a:pt x="163" y="999"/>
                  </a:lnTo>
                  <a:lnTo>
                    <a:pt x="171" y="1047"/>
                  </a:lnTo>
                  <a:lnTo>
                    <a:pt x="155" y="1066"/>
                  </a:lnTo>
                  <a:lnTo>
                    <a:pt x="152" y="1109"/>
                  </a:lnTo>
                  <a:lnTo>
                    <a:pt x="198" y="1167"/>
                  </a:lnTo>
                  <a:lnTo>
                    <a:pt x="225" y="1217"/>
                  </a:lnTo>
                  <a:lnTo>
                    <a:pt x="249" y="1295"/>
                  </a:lnTo>
                  <a:lnTo>
                    <a:pt x="287" y="1314"/>
                  </a:lnTo>
                  <a:lnTo>
                    <a:pt x="307" y="1295"/>
                  </a:lnTo>
                  <a:lnTo>
                    <a:pt x="322" y="1236"/>
                  </a:lnTo>
                  <a:lnTo>
                    <a:pt x="369" y="1213"/>
                  </a:lnTo>
                  <a:lnTo>
                    <a:pt x="399" y="1220"/>
                  </a:lnTo>
                  <a:lnTo>
                    <a:pt x="427" y="1249"/>
                  </a:lnTo>
                  <a:lnTo>
                    <a:pt x="454" y="1253"/>
                  </a:lnTo>
                  <a:lnTo>
                    <a:pt x="477" y="1217"/>
                  </a:lnTo>
                  <a:lnTo>
                    <a:pt x="513" y="1213"/>
                  </a:lnTo>
                  <a:lnTo>
                    <a:pt x="571" y="1271"/>
                  </a:lnTo>
                  <a:lnTo>
                    <a:pt x="582" y="1311"/>
                  </a:lnTo>
                  <a:lnTo>
                    <a:pt x="590" y="1326"/>
                  </a:lnTo>
                  <a:lnTo>
                    <a:pt x="594" y="1287"/>
                  </a:lnTo>
                  <a:lnTo>
                    <a:pt x="594" y="1230"/>
                  </a:lnTo>
                  <a:lnTo>
                    <a:pt x="605" y="1213"/>
                  </a:lnTo>
                  <a:lnTo>
                    <a:pt x="620" y="1233"/>
                  </a:lnTo>
                  <a:lnTo>
                    <a:pt x="625" y="1256"/>
                  </a:lnTo>
                  <a:lnTo>
                    <a:pt x="648" y="1253"/>
                  </a:lnTo>
                  <a:lnTo>
                    <a:pt x="652" y="1230"/>
                  </a:lnTo>
                  <a:lnTo>
                    <a:pt x="668" y="1202"/>
                  </a:lnTo>
                  <a:lnTo>
                    <a:pt x="709" y="1195"/>
                  </a:lnTo>
                  <a:lnTo>
                    <a:pt x="737" y="1210"/>
                  </a:lnTo>
                  <a:lnTo>
                    <a:pt x="756" y="1230"/>
                  </a:lnTo>
                  <a:lnTo>
                    <a:pt x="775" y="1233"/>
                  </a:lnTo>
                  <a:lnTo>
                    <a:pt x="815" y="1230"/>
                  </a:lnTo>
                  <a:lnTo>
                    <a:pt x="811" y="1171"/>
                  </a:lnTo>
                  <a:lnTo>
                    <a:pt x="792" y="1090"/>
                  </a:lnTo>
                  <a:lnTo>
                    <a:pt x="795" y="1062"/>
                  </a:lnTo>
                  <a:lnTo>
                    <a:pt x="830" y="1039"/>
                  </a:lnTo>
                  <a:lnTo>
                    <a:pt x="846" y="1004"/>
                  </a:lnTo>
                  <a:lnTo>
                    <a:pt x="842" y="926"/>
                  </a:lnTo>
                  <a:lnTo>
                    <a:pt x="864" y="911"/>
                  </a:lnTo>
                  <a:lnTo>
                    <a:pt x="958" y="903"/>
                  </a:lnTo>
                  <a:lnTo>
                    <a:pt x="1063" y="888"/>
                  </a:lnTo>
                  <a:lnTo>
                    <a:pt x="1144" y="899"/>
                  </a:lnTo>
                  <a:lnTo>
                    <a:pt x="1202" y="938"/>
                  </a:lnTo>
                  <a:close/>
                </a:path>
              </a:pathLst>
            </a:custGeom>
            <a:solidFill>
              <a:srgbClr val="337AB7"/>
            </a:solidFill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4" name="Google Shape;607;p19">
              <a:extLst>
                <a:ext uri="{FF2B5EF4-FFF2-40B4-BE49-F238E27FC236}">
                  <a16:creationId xmlns:a16="http://schemas.microsoft.com/office/drawing/2014/main" id="{77CAC683-AD48-41A0-B51F-92A841312D88}"/>
                </a:ext>
              </a:extLst>
            </p:cNvPr>
            <p:cNvSpPr/>
            <p:nvPr/>
          </p:nvSpPr>
          <p:spPr>
            <a:xfrm>
              <a:off x="3125" y="2346"/>
              <a:ext cx="1161" cy="1020"/>
            </a:xfrm>
            <a:custGeom>
              <a:avLst/>
              <a:gdLst/>
              <a:ahLst/>
              <a:cxnLst/>
              <a:rect l="l" t="t" r="r" b="b"/>
              <a:pathLst>
                <a:path w="4079" h="3876" extrusionOk="0">
                  <a:moveTo>
                    <a:pt x="907" y="1620"/>
                  </a:moveTo>
                  <a:lnTo>
                    <a:pt x="872" y="1609"/>
                  </a:lnTo>
                  <a:lnTo>
                    <a:pt x="817" y="1625"/>
                  </a:lnTo>
                  <a:lnTo>
                    <a:pt x="752" y="1668"/>
                  </a:lnTo>
                  <a:lnTo>
                    <a:pt x="740" y="1745"/>
                  </a:lnTo>
                  <a:lnTo>
                    <a:pt x="735" y="1765"/>
                  </a:lnTo>
                  <a:lnTo>
                    <a:pt x="725" y="1783"/>
                  </a:lnTo>
                  <a:lnTo>
                    <a:pt x="710" y="1779"/>
                  </a:lnTo>
                  <a:lnTo>
                    <a:pt x="671" y="1765"/>
                  </a:lnTo>
                  <a:lnTo>
                    <a:pt x="647" y="1765"/>
                  </a:lnTo>
                  <a:lnTo>
                    <a:pt x="639" y="1791"/>
                  </a:lnTo>
                  <a:lnTo>
                    <a:pt x="635" y="1808"/>
                  </a:lnTo>
                  <a:lnTo>
                    <a:pt x="628" y="1823"/>
                  </a:lnTo>
                  <a:lnTo>
                    <a:pt x="612" y="1826"/>
                  </a:lnTo>
                  <a:lnTo>
                    <a:pt x="590" y="1826"/>
                  </a:lnTo>
                  <a:lnTo>
                    <a:pt x="577" y="1823"/>
                  </a:lnTo>
                  <a:lnTo>
                    <a:pt x="535" y="1803"/>
                  </a:lnTo>
                  <a:lnTo>
                    <a:pt x="476" y="1808"/>
                  </a:lnTo>
                  <a:lnTo>
                    <a:pt x="435" y="1815"/>
                  </a:lnTo>
                  <a:lnTo>
                    <a:pt x="399" y="1826"/>
                  </a:lnTo>
                  <a:lnTo>
                    <a:pt x="364" y="1803"/>
                  </a:lnTo>
                  <a:lnTo>
                    <a:pt x="344" y="1752"/>
                  </a:lnTo>
                  <a:lnTo>
                    <a:pt x="344" y="1710"/>
                  </a:lnTo>
                  <a:lnTo>
                    <a:pt x="329" y="1702"/>
                  </a:lnTo>
                  <a:lnTo>
                    <a:pt x="305" y="1702"/>
                  </a:lnTo>
                  <a:lnTo>
                    <a:pt x="271" y="1745"/>
                  </a:lnTo>
                  <a:lnTo>
                    <a:pt x="217" y="1740"/>
                  </a:lnTo>
                  <a:lnTo>
                    <a:pt x="178" y="1707"/>
                  </a:lnTo>
                  <a:lnTo>
                    <a:pt x="158" y="1659"/>
                  </a:lnTo>
                  <a:lnTo>
                    <a:pt x="115" y="1651"/>
                  </a:lnTo>
                  <a:lnTo>
                    <a:pt x="89" y="1648"/>
                  </a:lnTo>
                  <a:lnTo>
                    <a:pt x="77" y="1620"/>
                  </a:lnTo>
                  <a:lnTo>
                    <a:pt x="100" y="1582"/>
                  </a:lnTo>
                  <a:lnTo>
                    <a:pt x="89" y="1574"/>
                  </a:lnTo>
                  <a:lnTo>
                    <a:pt x="42" y="1562"/>
                  </a:lnTo>
                  <a:lnTo>
                    <a:pt x="15" y="1536"/>
                  </a:lnTo>
                  <a:lnTo>
                    <a:pt x="0" y="1488"/>
                  </a:lnTo>
                  <a:lnTo>
                    <a:pt x="6" y="1435"/>
                  </a:lnTo>
                  <a:lnTo>
                    <a:pt x="26" y="1404"/>
                  </a:lnTo>
                  <a:lnTo>
                    <a:pt x="74" y="1396"/>
                  </a:lnTo>
                  <a:lnTo>
                    <a:pt x="104" y="1384"/>
                  </a:lnTo>
                  <a:lnTo>
                    <a:pt x="112" y="1373"/>
                  </a:lnTo>
                  <a:lnTo>
                    <a:pt x="92" y="1333"/>
                  </a:lnTo>
                  <a:lnTo>
                    <a:pt x="89" y="1275"/>
                  </a:lnTo>
                  <a:lnTo>
                    <a:pt x="104" y="1233"/>
                  </a:lnTo>
                  <a:lnTo>
                    <a:pt x="150" y="1214"/>
                  </a:lnTo>
                  <a:lnTo>
                    <a:pt x="181" y="1186"/>
                  </a:lnTo>
                  <a:lnTo>
                    <a:pt x="220" y="1163"/>
                  </a:lnTo>
                  <a:lnTo>
                    <a:pt x="267" y="1155"/>
                  </a:lnTo>
                  <a:lnTo>
                    <a:pt x="356" y="1155"/>
                  </a:lnTo>
                  <a:lnTo>
                    <a:pt x="372" y="1155"/>
                  </a:lnTo>
                  <a:lnTo>
                    <a:pt x="387" y="1143"/>
                  </a:lnTo>
                  <a:lnTo>
                    <a:pt x="410" y="1112"/>
                  </a:lnTo>
                  <a:lnTo>
                    <a:pt x="425" y="1043"/>
                  </a:lnTo>
                  <a:lnTo>
                    <a:pt x="425" y="984"/>
                  </a:lnTo>
                  <a:lnTo>
                    <a:pt x="435" y="939"/>
                  </a:lnTo>
                  <a:lnTo>
                    <a:pt x="450" y="911"/>
                  </a:lnTo>
                  <a:lnTo>
                    <a:pt x="453" y="869"/>
                  </a:lnTo>
                  <a:lnTo>
                    <a:pt x="441" y="833"/>
                  </a:lnTo>
                  <a:lnTo>
                    <a:pt x="407" y="795"/>
                  </a:lnTo>
                  <a:lnTo>
                    <a:pt x="379" y="749"/>
                  </a:lnTo>
                  <a:lnTo>
                    <a:pt x="372" y="710"/>
                  </a:lnTo>
                  <a:lnTo>
                    <a:pt x="379" y="678"/>
                  </a:lnTo>
                  <a:lnTo>
                    <a:pt x="402" y="659"/>
                  </a:lnTo>
                  <a:lnTo>
                    <a:pt x="460" y="632"/>
                  </a:lnTo>
                  <a:lnTo>
                    <a:pt x="465" y="609"/>
                  </a:lnTo>
                  <a:lnTo>
                    <a:pt x="450" y="594"/>
                  </a:lnTo>
                  <a:lnTo>
                    <a:pt x="418" y="589"/>
                  </a:lnTo>
                  <a:lnTo>
                    <a:pt x="395" y="581"/>
                  </a:lnTo>
                  <a:lnTo>
                    <a:pt x="392" y="570"/>
                  </a:lnTo>
                  <a:lnTo>
                    <a:pt x="410" y="558"/>
                  </a:lnTo>
                  <a:lnTo>
                    <a:pt x="450" y="555"/>
                  </a:lnTo>
                  <a:lnTo>
                    <a:pt x="484" y="570"/>
                  </a:lnTo>
                  <a:lnTo>
                    <a:pt x="503" y="561"/>
                  </a:lnTo>
                  <a:lnTo>
                    <a:pt x="514" y="535"/>
                  </a:lnTo>
                  <a:lnTo>
                    <a:pt x="550" y="527"/>
                  </a:lnTo>
                  <a:lnTo>
                    <a:pt x="570" y="543"/>
                  </a:lnTo>
                  <a:lnTo>
                    <a:pt x="590" y="543"/>
                  </a:lnTo>
                  <a:lnTo>
                    <a:pt x="596" y="523"/>
                  </a:lnTo>
                  <a:lnTo>
                    <a:pt x="620" y="512"/>
                  </a:lnTo>
                  <a:lnTo>
                    <a:pt x="628" y="531"/>
                  </a:lnTo>
                  <a:lnTo>
                    <a:pt x="635" y="574"/>
                  </a:lnTo>
                  <a:lnTo>
                    <a:pt x="647" y="589"/>
                  </a:lnTo>
                  <a:lnTo>
                    <a:pt x="690" y="578"/>
                  </a:lnTo>
                  <a:lnTo>
                    <a:pt x="697" y="620"/>
                  </a:lnTo>
                  <a:lnTo>
                    <a:pt x="725" y="639"/>
                  </a:lnTo>
                  <a:lnTo>
                    <a:pt x="760" y="635"/>
                  </a:lnTo>
                  <a:lnTo>
                    <a:pt x="791" y="616"/>
                  </a:lnTo>
                  <a:lnTo>
                    <a:pt x="829" y="601"/>
                  </a:lnTo>
                  <a:lnTo>
                    <a:pt x="875" y="594"/>
                  </a:lnTo>
                  <a:lnTo>
                    <a:pt x="898" y="574"/>
                  </a:lnTo>
                  <a:lnTo>
                    <a:pt x="926" y="531"/>
                  </a:lnTo>
                  <a:lnTo>
                    <a:pt x="946" y="500"/>
                  </a:lnTo>
                  <a:lnTo>
                    <a:pt x="966" y="480"/>
                  </a:lnTo>
                  <a:lnTo>
                    <a:pt x="1023" y="461"/>
                  </a:lnTo>
                  <a:lnTo>
                    <a:pt x="1038" y="423"/>
                  </a:lnTo>
                  <a:lnTo>
                    <a:pt x="1030" y="396"/>
                  </a:lnTo>
                  <a:lnTo>
                    <a:pt x="1004" y="376"/>
                  </a:lnTo>
                  <a:lnTo>
                    <a:pt x="969" y="368"/>
                  </a:lnTo>
                  <a:lnTo>
                    <a:pt x="938" y="344"/>
                  </a:lnTo>
                  <a:lnTo>
                    <a:pt x="934" y="310"/>
                  </a:lnTo>
                  <a:lnTo>
                    <a:pt x="934" y="294"/>
                  </a:lnTo>
                  <a:lnTo>
                    <a:pt x="1000" y="314"/>
                  </a:lnTo>
                  <a:lnTo>
                    <a:pt x="1077" y="314"/>
                  </a:lnTo>
                  <a:lnTo>
                    <a:pt x="1154" y="299"/>
                  </a:lnTo>
                  <a:lnTo>
                    <a:pt x="1193" y="283"/>
                  </a:lnTo>
                  <a:lnTo>
                    <a:pt x="1213" y="259"/>
                  </a:lnTo>
                  <a:lnTo>
                    <a:pt x="1225" y="209"/>
                  </a:lnTo>
                  <a:lnTo>
                    <a:pt x="1251" y="185"/>
                  </a:lnTo>
                  <a:lnTo>
                    <a:pt x="1271" y="167"/>
                  </a:lnTo>
                  <a:lnTo>
                    <a:pt x="1271" y="132"/>
                  </a:lnTo>
                  <a:lnTo>
                    <a:pt x="1256" y="108"/>
                  </a:lnTo>
                  <a:lnTo>
                    <a:pt x="1284" y="93"/>
                  </a:lnTo>
                  <a:lnTo>
                    <a:pt x="1310" y="93"/>
                  </a:lnTo>
                  <a:lnTo>
                    <a:pt x="1330" y="119"/>
                  </a:lnTo>
                  <a:lnTo>
                    <a:pt x="1333" y="163"/>
                  </a:lnTo>
                  <a:lnTo>
                    <a:pt x="1348" y="213"/>
                  </a:lnTo>
                  <a:lnTo>
                    <a:pt x="1345" y="256"/>
                  </a:lnTo>
                  <a:lnTo>
                    <a:pt x="1325" y="294"/>
                  </a:lnTo>
                  <a:lnTo>
                    <a:pt x="1322" y="322"/>
                  </a:lnTo>
                  <a:lnTo>
                    <a:pt x="1348" y="340"/>
                  </a:lnTo>
                  <a:lnTo>
                    <a:pt x="1361" y="380"/>
                  </a:lnTo>
                  <a:lnTo>
                    <a:pt x="1380" y="449"/>
                  </a:lnTo>
                  <a:lnTo>
                    <a:pt x="1399" y="474"/>
                  </a:lnTo>
                  <a:lnTo>
                    <a:pt x="1457" y="489"/>
                  </a:lnTo>
                  <a:lnTo>
                    <a:pt x="1523" y="489"/>
                  </a:lnTo>
                  <a:lnTo>
                    <a:pt x="1554" y="469"/>
                  </a:lnTo>
                  <a:lnTo>
                    <a:pt x="1608" y="411"/>
                  </a:lnTo>
                  <a:lnTo>
                    <a:pt x="1675" y="373"/>
                  </a:lnTo>
                  <a:lnTo>
                    <a:pt x="1701" y="360"/>
                  </a:lnTo>
                  <a:lnTo>
                    <a:pt x="1718" y="334"/>
                  </a:lnTo>
                  <a:lnTo>
                    <a:pt x="1736" y="294"/>
                  </a:lnTo>
                  <a:lnTo>
                    <a:pt x="1764" y="294"/>
                  </a:lnTo>
                  <a:lnTo>
                    <a:pt x="1783" y="318"/>
                  </a:lnTo>
                  <a:lnTo>
                    <a:pt x="1805" y="306"/>
                  </a:lnTo>
                  <a:lnTo>
                    <a:pt x="1810" y="276"/>
                  </a:lnTo>
                  <a:lnTo>
                    <a:pt x="1830" y="276"/>
                  </a:lnTo>
                  <a:lnTo>
                    <a:pt x="1849" y="271"/>
                  </a:lnTo>
                  <a:lnTo>
                    <a:pt x="1861" y="286"/>
                  </a:lnTo>
                  <a:lnTo>
                    <a:pt x="1845" y="337"/>
                  </a:lnTo>
                  <a:lnTo>
                    <a:pt x="1868" y="349"/>
                  </a:lnTo>
                  <a:lnTo>
                    <a:pt x="1899" y="340"/>
                  </a:lnTo>
                  <a:lnTo>
                    <a:pt x="1939" y="314"/>
                  </a:lnTo>
                  <a:lnTo>
                    <a:pt x="1961" y="310"/>
                  </a:lnTo>
                  <a:lnTo>
                    <a:pt x="1993" y="329"/>
                  </a:lnTo>
                  <a:lnTo>
                    <a:pt x="2016" y="360"/>
                  </a:lnTo>
                  <a:lnTo>
                    <a:pt x="2039" y="360"/>
                  </a:lnTo>
                  <a:lnTo>
                    <a:pt x="2081" y="294"/>
                  </a:lnTo>
                  <a:lnTo>
                    <a:pt x="2100" y="228"/>
                  </a:lnTo>
                  <a:lnTo>
                    <a:pt x="2100" y="159"/>
                  </a:lnTo>
                  <a:lnTo>
                    <a:pt x="2113" y="116"/>
                  </a:lnTo>
                  <a:lnTo>
                    <a:pt x="2159" y="65"/>
                  </a:lnTo>
                  <a:lnTo>
                    <a:pt x="2187" y="15"/>
                  </a:lnTo>
                  <a:lnTo>
                    <a:pt x="2181" y="0"/>
                  </a:lnTo>
                  <a:lnTo>
                    <a:pt x="2210" y="7"/>
                  </a:lnTo>
                  <a:lnTo>
                    <a:pt x="2225" y="23"/>
                  </a:lnTo>
                  <a:lnTo>
                    <a:pt x="2249" y="43"/>
                  </a:lnTo>
                  <a:lnTo>
                    <a:pt x="2268" y="62"/>
                  </a:lnTo>
                  <a:lnTo>
                    <a:pt x="2295" y="124"/>
                  </a:lnTo>
                  <a:lnTo>
                    <a:pt x="2311" y="144"/>
                  </a:lnTo>
                  <a:lnTo>
                    <a:pt x="2353" y="205"/>
                  </a:lnTo>
                  <a:lnTo>
                    <a:pt x="2372" y="243"/>
                  </a:lnTo>
                  <a:lnTo>
                    <a:pt x="2379" y="263"/>
                  </a:lnTo>
                  <a:lnTo>
                    <a:pt x="2385" y="276"/>
                  </a:lnTo>
                  <a:lnTo>
                    <a:pt x="2427" y="294"/>
                  </a:lnTo>
                  <a:lnTo>
                    <a:pt x="2435" y="329"/>
                  </a:lnTo>
                  <a:lnTo>
                    <a:pt x="2435" y="357"/>
                  </a:lnTo>
                  <a:lnTo>
                    <a:pt x="2427" y="415"/>
                  </a:lnTo>
                  <a:lnTo>
                    <a:pt x="2392" y="457"/>
                  </a:lnTo>
                  <a:lnTo>
                    <a:pt x="2365" y="504"/>
                  </a:lnTo>
                  <a:lnTo>
                    <a:pt x="2353" y="546"/>
                  </a:lnTo>
                  <a:lnTo>
                    <a:pt x="2361" y="570"/>
                  </a:lnTo>
                  <a:lnTo>
                    <a:pt x="2392" y="570"/>
                  </a:lnTo>
                  <a:lnTo>
                    <a:pt x="2415" y="561"/>
                  </a:lnTo>
                  <a:lnTo>
                    <a:pt x="2427" y="531"/>
                  </a:lnTo>
                  <a:lnTo>
                    <a:pt x="2446" y="504"/>
                  </a:lnTo>
                  <a:lnTo>
                    <a:pt x="2481" y="497"/>
                  </a:lnTo>
                  <a:lnTo>
                    <a:pt x="2519" y="492"/>
                  </a:lnTo>
                  <a:lnTo>
                    <a:pt x="2555" y="489"/>
                  </a:lnTo>
                  <a:lnTo>
                    <a:pt x="2593" y="480"/>
                  </a:lnTo>
                  <a:lnTo>
                    <a:pt x="2625" y="489"/>
                  </a:lnTo>
                  <a:lnTo>
                    <a:pt x="2636" y="507"/>
                  </a:lnTo>
                  <a:lnTo>
                    <a:pt x="2628" y="531"/>
                  </a:lnTo>
                  <a:lnTo>
                    <a:pt x="2641" y="551"/>
                  </a:lnTo>
                  <a:lnTo>
                    <a:pt x="2651" y="555"/>
                  </a:lnTo>
                  <a:lnTo>
                    <a:pt x="2667" y="551"/>
                  </a:lnTo>
                  <a:lnTo>
                    <a:pt x="2687" y="515"/>
                  </a:lnTo>
                  <a:lnTo>
                    <a:pt x="2707" y="500"/>
                  </a:lnTo>
                  <a:lnTo>
                    <a:pt x="2737" y="497"/>
                  </a:lnTo>
                  <a:lnTo>
                    <a:pt x="2807" y="500"/>
                  </a:lnTo>
                  <a:lnTo>
                    <a:pt x="2877" y="504"/>
                  </a:lnTo>
                  <a:lnTo>
                    <a:pt x="2943" y="504"/>
                  </a:lnTo>
                  <a:lnTo>
                    <a:pt x="3009" y="515"/>
                  </a:lnTo>
                  <a:lnTo>
                    <a:pt x="3047" y="523"/>
                  </a:lnTo>
                  <a:lnTo>
                    <a:pt x="3063" y="546"/>
                  </a:lnTo>
                  <a:lnTo>
                    <a:pt x="3063" y="574"/>
                  </a:lnTo>
                  <a:lnTo>
                    <a:pt x="3070" y="589"/>
                  </a:lnTo>
                  <a:lnTo>
                    <a:pt x="3094" y="594"/>
                  </a:lnTo>
                  <a:lnTo>
                    <a:pt x="3124" y="585"/>
                  </a:lnTo>
                  <a:lnTo>
                    <a:pt x="3144" y="570"/>
                  </a:lnTo>
                  <a:lnTo>
                    <a:pt x="3175" y="561"/>
                  </a:lnTo>
                  <a:lnTo>
                    <a:pt x="3230" y="578"/>
                  </a:lnTo>
                  <a:lnTo>
                    <a:pt x="3296" y="581"/>
                  </a:lnTo>
                  <a:lnTo>
                    <a:pt x="3378" y="581"/>
                  </a:lnTo>
                  <a:lnTo>
                    <a:pt x="3458" y="574"/>
                  </a:lnTo>
                  <a:lnTo>
                    <a:pt x="3520" y="574"/>
                  </a:lnTo>
                  <a:lnTo>
                    <a:pt x="3559" y="570"/>
                  </a:lnTo>
                  <a:lnTo>
                    <a:pt x="3578" y="561"/>
                  </a:lnTo>
                  <a:lnTo>
                    <a:pt x="3602" y="561"/>
                  </a:lnTo>
                  <a:lnTo>
                    <a:pt x="3621" y="561"/>
                  </a:lnTo>
                  <a:lnTo>
                    <a:pt x="3640" y="570"/>
                  </a:lnTo>
                  <a:lnTo>
                    <a:pt x="3788" y="685"/>
                  </a:lnTo>
                  <a:lnTo>
                    <a:pt x="3808" y="698"/>
                  </a:lnTo>
                  <a:lnTo>
                    <a:pt x="3831" y="705"/>
                  </a:lnTo>
                  <a:lnTo>
                    <a:pt x="3850" y="701"/>
                  </a:lnTo>
                  <a:lnTo>
                    <a:pt x="3889" y="701"/>
                  </a:lnTo>
                  <a:lnTo>
                    <a:pt x="4013" y="695"/>
                  </a:lnTo>
                  <a:lnTo>
                    <a:pt x="4028" y="698"/>
                  </a:lnTo>
                  <a:lnTo>
                    <a:pt x="4044" y="701"/>
                  </a:lnTo>
                  <a:lnTo>
                    <a:pt x="4056" y="720"/>
                  </a:lnTo>
                  <a:lnTo>
                    <a:pt x="4059" y="736"/>
                  </a:lnTo>
                  <a:lnTo>
                    <a:pt x="4067" y="752"/>
                  </a:lnTo>
                  <a:lnTo>
                    <a:pt x="4071" y="772"/>
                  </a:lnTo>
                  <a:lnTo>
                    <a:pt x="4074" y="779"/>
                  </a:lnTo>
                  <a:lnTo>
                    <a:pt x="4074" y="795"/>
                  </a:lnTo>
                  <a:lnTo>
                    <a:pt x="4079" y="818"/>
                  </a:lnTo>
                  <a:lnTo>
                    <a:pt x="4079" y="837"/>
                  </a:lnTo>
                  <a:lnTo>
                    <a:pt x="4079" y="856"/>
                  </a:lnTo>
                  <a:lnTo>
                    <a:pt x="4079" y="880"/>
                  </a:lnTo>
                  <a:lnTo>
                    <a:pt x="4079" y="919"/>
                  </a:lnTo>
                  <a:lnTo>
                    <a:pt x="4071" y="961"/>
                  </a:lnTo>
                  <a:lnTo>
                    <a:pt x="4059" y="1003"/>
                  </a:lnTo>
                  <a:lnTo>
                    <a:pt x="4044" y="1043"/>
                  </a:lnTo>
                  <a:lnTo>
                    <a:pt x="4024" y="1086"/>
                  </a:lnTo>
                  <a:lnTo>
                    <a:pt x="4006" y="1128"/>
                  </a:lnTo>
                  <a:lnTo>
                    <a:pt x="3997" y="1148"/>
                  </a:lnTo>
                  <a:lnTo>
                    <a:pt x="3970" y="1191"/>
                  </a:lnTo>
                  <a:lnTo>
                    <a:pt x="3959" y="1214"/>
                  </a:lnTo>
                  <a:lnTo>
                    <a:pt x="3909" y="1275"/>
                  </a:lnTo>
                  <a:lnTo>
                    <a:pt x="3878" y="1315"/>
                  </a:lnTo>
                  <a:lnTo>
                    <a:pt x="3850" y="1356"/>
                  </a:lnTo>
                  <a:lnTo>
                    <a:pt x="3812" y="1419"/>
                  </a:lnTo>
                  <a:lnTo>
                    <a:pt x="3792" y="1462"/>
                  </a:lnTo>
                  <a:lnTo>
                    <a:pt x="3773" y="1504"/>
                  </a:lnTo>
                  <a:lnTo>
                    <a:pt x="3753" y="1524"/>
                  </a:lnTo>
                  <a:lnTo>
                    <a:pt x="3734" y="1547"/>
                  </a:lnTo>
                  <a:lnTo>
                    <a:pt x="3714" y="1547"/>
                  </a:lnTo>
                  <a:lnTo>
                    <a:pt x="3698" y="1567"/>
                  </a:lnTo>
                  <a:lnTo>
                    <a:pt x="3695" y="1587"/>
                  </a:lnTo>
                  <a:lnTo>
                    <a:pt x="3691" y="1605"/>
                  </a:lnTo>
                  <a:lnTo>
                    <a:pt x="3679" y="1617"/>
                  </a:lnTo>
                  <a:lnTo>
                    <a:pt x="3675" y="1628"/>
                  </a:lnTo>
                  <a:lnTo>
                    <a:pt x="3675" y="1648"/>
                  </a:lnTo>
                  <a:lnTo>
                    <a:pt x="3664" y="1659"/>
                  </a:lnTo>
                  <a:lnTo>
                    <a:pt x="3675" y="1729"/>
                  </a:lnTo>
                  <a:lnTo>
                    <a:pt x="3679" y="1795"/>
                  </a:lnTo>
                  <a:lnTo>
                    <a:pt x="3683" y="1853"/>
                  </a:lnTo>
                  <a:lnTo>
                    <a:pt x="3679" y="1912"/>
                  </a:lnTo>
                  <a:lnTo>
                    <a:pt x="3668" y="1935"/>
                  </a:lnTo>
                  <a:lnTo>
                    <a:pt x="3668" y="1957"/>
                  </a:lnTo>
                  <a:lnTo>
                    <a:pt x="3679" y="1996"/>
                  </a:lnTo>
                  <a:lnTo>
                    <a:pt x="3668" y="2039"/>
                  </a:lnTo>
                  <a:lnTo>
                    <a:pt x="3630" y="2083"/>
                  </a:lnTo>
                  <a:lnTo>
                    <a:pt x="3614" y="2105"/>
                  </a:lnTo>
                  <a:lnTo>
                    <a:pt x="3610" y="2141"/>
                  </a:lnTo>
                  <a:lnTo>
                    <a:pt x="3610" y="2179"/>
                  </a:lnTo>
                  <a:lnTo>
                    <a:pt x="3598" y="2203"/>
                  </a:lnTo>
                  <a:lnTo>
                    <a:pt x="3594" y="2245"/>
                  </a:lnTo>
                  <a:lnTo>
                    <a:pt x="3578" y="2283"/>
                  </a:lnTo>
                  <a:lnTo>
                    <a:pt x="3574" y="2307"/>
                  </a:lnTo>
                  <a:lnTo>
                    <a:pt x="3552" y="2342"/>
                  </a:lnTo>
                  <a:lnTo>
                    <a:pt x="3520" y="2372"/>
                  </a:lnTo>
                  <a:lnTo>
                    <a:pt x="3497" y="2412"/>
                  </a:lnTo>
                  <a:lnTo>
                    <a:pt x="3477" y="2453"/>
                  </a:lnTo>
                  <a:lnTo>
                    <a:pt x="3439" y="2516"/>
                  </a:lnTo>
                  <a:lnTo>
                    <a:pt x="3419" y="2559"/>
                  </a:lnTo>
                  <a:lnTo>
                    <a:pt x="3400" y="2578"/>
                  </a:lnTo>
                  <a:lnTo>
                    <a:pt x="3381" y="2598"/>
                  </a:lnTo>
                  <a:lnTo>
                    <a:pt x="3362" y="2621"/>
                  </a:lnTo>
                  <a:lnTo>
                    <a:pt x="3303" y="2664"/>
                  </a:lnTo>
                  <a:lnTo>
                    <a:pt x="3277" y="2671"/>
                  </a:lnTo>
                  <a:lnTo>
                    <a:pt x="3272" y="2671"/>
                  </a:lnTo>
                  <a:lnTo>
                    <a:pt x="3234" y="2671"/>
                  </a:lnTo>
                  <a:lnTo>
                    <a:pt x="3215" y="2671"/>
                  </a:lnTo>
                  <a:lnTo>
                    <a:pt x="3182" y="2679"/>
                  </a:lnTo>
                  <a:lnTo>
                    <a:pt x="3172" y="2694"/>
                  </a:lnTo>
                  <a:lnTo>
                    <a:pt x="3132" y="2679"/>
                  </a:lnTo>
                  <a:lnTo>
                    <a:pt x="3090" y="2679"/>
                  </a:lnTo>
                  <a:lnTo>
                    <a:pt x="3063" y="2699"/>
                  </a:lnTo>
                  <a:lnTo>
                    <a:pt x="3055" y="2722"/>
                  </a:lnTo>
                  <a:lnTo>
                    <a:pt x="3032" y="2745"/>
                  </a:lnTo>
                  <a:lnTo>
                    <a:pt x="2974" y="2764"/>
                  </a:lnTo>
                  <a:lnTo>
                    <a:pt x="2912" y="2807"/>
                  </a:lnTo>
                  <a:lnTo>
                    <a:pt x="2849" y="2829"/>
                  </a:lnTo>
                  <a:lnTo>
                    <a:pt x="2811" y="2849"/>
                  </a:lnTo>
                  <a:lnTo>
                    <a:pt x="2761" y="2892"/>
                  </a:lnTo>
                  <a:lnTo>
                    <a:pt x="2729" y="2935"/>
                  </a:lnTo>
                  <a:lnTo>
                    <a:pt x="2694" y="2974"/>
                  </a:lnTo>
                  <a:lnTo>
                    <a:pt x="2674" y="2982"/>
                  </a:lnTo>
                  <a:lnTo>
                    <a:pt x="2651" y="2997"/>
                  </a:lnTo>
                  <a:lnTo>
                    <a:pt x="2632" y="3020"/>
                  </a:lnTo>
                  <a:lnTo>
                    <a:pt x="2625" y="3027"/>
                  </a:lnTo>
                  <a:lnTo>
                    <a:pt x="2613" y="3043"/>
                  </a:lnTo>
                  <a:lnTo>
                    <a:pt x="2613" y="3060"/>
                  </a:lnTo>
                  <a:lnTo>
                    <a:pt x="2613" y="3083"/>
                  </a:lnTo>
                  <a:lnTo>
                    <a:pt x="2616" y="3101"/>
                  </a:lnTo>
                  <a:lnTo>
                    <a:pt x="2636" y="3121"/>
                  </a:lnTo>
                  <a:lnTo>
                    <a:pt x="2636" y="3144"/>
                  </a:lnTo>
                  <a:lnTo>
                    <a:pt x="2601" y="3307"/>
                  </a:lnTo>
                  <a:lnTo>
                    <a:pt x="2582" y="3330"/>
                  </a:lnTo>
                  <a:lnTo>
                    <a:pt x="2563" y="3350"/>
                  </a:lnTo>
                  <a:lnTo>
                    <a:pt x="2446" y="3475"/>
                  </a:lnTo>
                  <a:lnTo>
                    <a:pt x="2385" y="3540"/>
                  </a:lnTo>
                  <a:lnTo>
                    <a:pt x="2356" y="3579"/>
                  </a:lnTo>
                  <a:lnTo>
                    <a:pt x="2346" y="3621"/>
                  </a:lnTo>
                  <a:lnTo>
                    <a:pt x="2331" y="3644"/>
                  </a:lnTo>
                  <a:lnTo>
                    <a:pt x="2327" y="3664"/>
                  </a:lnTo>
                  <a:lnTo>
                    <a:pt x="2311" y="3680"/>
                  </a:lnTo>
                  <a:lnTo>
                    <a:pt x="2288" y="3687"/>
                  </a:lnTo>
                  <a:lnTo>
                    <a:pt x="2272" y="3687"/>
                  </a:lnTo>
                  <a:lnTo>
                    <a:pt x="2249" y="3706"/>
                  </a:lnTo>
                  <a:lnTo>
                    <a:pt x="2232" y="3725"/>
                  </a:lnTo>
                  <a:lnTo>
                    <a:pt x="2229" y="3749"/>
                  </a:lnTo>
                  <a:lnTo>
                    <a:pt x="2229" y="3768"/>
                  </a:lnTo>
                  <a:lnTo>
                    <a:pt x="2221" y="3776"/>
                  </a:lnTo>
                  <a:lnTo>
                    <a:pt x="2214" y="3792"/>
                  </a:lnTo>
                  <a:lnTo>
                    <a:pt x="2206" y="3807"/>
                  </a:lnTo>
                  <a:lnTo>
                    <a:pt x="2194" y="3815"/>
                  </a:lnTo>
                  <a:lnTo>
                    <a:pt x="2128" y="3876"/>
                  </a:lnTo>
                  <a:lnTo>
                    <a:pt x="2097" y="3797"/>
                  </a:lnTo>
                  <a:lnTo>
                    <a:pt x="2100" y="3738"/>
                  </a:lnTo>
                  <a:lnTo>
                    <a:pt x="2090" y="3706"/>
                  </a:lnTo>
                  <a:lnTo>
                    <a:pt x="2055" y="3706"/>
                  </a:lnTo>
                  <a:lnTo>
                    <a:pt x="2039" y="3687"/>
                  </a:lnTo>
                  <a:lnTo>
                    <a:pt x="2031" y="3657"/>
                  </a:lnTo>
                  <a:lnTo>
                    <a:pt x="2003" y="3621"/>
                  </a:lnTo>
                  <a:lnTo>
                    <a:pt x="1961" y="3604"/>
                  </a:lnTo>
                  <a:lnTo>
                    <a:pt x="1899" y="3604"/>
                  </a:lnTo>
                  <a:lnTo>
                    <a:pt x="1873" y="3589"/>
                  </a:lnTo>
                  <a:lnTo>
                    <a:pt x="1838" y="3540"/>
                  </a:lnTo>
                  <a:lnTo>
                    <a:pt x="1799" y="3532"/>
                  </a:lnTo>
                  <a:lnTo>
                    <a:pt x="1714" y="3536"/>
                  </a:lnTo>
                  <a:lnTo>
                    <a:pt x="1815" y="3404"/>
                  </a:lnTo>
                  <a:lnTo>
                    <a:pt x="1932" y="3299"/>
                  </a:lnTo>
                  <a:lnTo>
                    <a:pt x="2013" y="3245"/>
                  </a:lnTo>
                  <a:lnTo>
                    <a:pt x="2081" y="3233"/>
                  </a:lnTo>
                  <a:lnTo>
                    <a:pt x="2090" y="3222"/>
                  </a:lnTo>
                  <a:lnTo>
                    <a:pt x="2085" y="3187"/>
                  </a:lnTo>
                  <a:lnTo>
                    <a:pt x="2105" y="3144"/>
                  </a:lnTo>
                  <a:lnTo>
                    <a:pt x="2100" y="3117"/>
                  </a:lnTo>
                  <a:lnTo>
                    <a:pt x="2081" y="3090"/>
                  </a:lnTo>
                  <a:lnTo>
                    <a:pt x="1993" y="3075"/>
                  </a:lnTo>
                  <a:lnTo>
                    <a:pt x="2016" y="3040"/>
                  </a:lnTo>
                  <a:lnTo>
                    <a:pt x="2023" y="2979"/>
                  </a:lnTo>
                  <a:lnTo>
                    <a:pt x="2023" y="2939"/>
                  </a:lnTo>
                  <a:lnTo>
                    <a:pt x="2000" y="2908"/>
                  </a:lnTo>
                  <a:lnTo>
                    <a:pt x="1981" y="2896"/>
                  </a:lnTo>
                  <a:lnTo>
                    <a:pt x="1970" y="2892"/>
                  </a:lnTo>
                  <a:lnTo>
                    <a:pt x="1957" y="2892"/>
                  </a:lnTo>
                  <a:lnTo>
                    <a:pt x="1912" y="2900"/>
                  </a:lnTo>
                  <a:lnTo>
                    <a:pt x="1899" y="2892"/>
                  </a:lnTo>
                  <a:lnTo>
                    <a:pt x="1892" y="2877"/>
                  </a:lnTo>
                  <a:lnTo>
                    <a:pt x="1892" y="2858"/>
                  </a:lnTo>
                  <a:lnTo>
                    <a:pt x="1896" y="2845"/>
                  </a:lnTo>
                  <a:lnTo>
                    <a:pt x="1903" y="2811"/>
                  </a:lnTo>
                  <a:lnTo>
                    <a:pt x="1907" y="2796"/>
                  </a:lnTo>
                  <a:lnTo>
                    <a:pt x="1903" y="2776"/>
                  </a:lnTo>
                  <a:lnTo>
                    <a:pt x="1892" y="2761"/>
                  </a:lnTo>
                  <a:lnTo>
                    <a:pt x="1876" y="2753"/>
                  </a:lnTo>
                  <a:lnTo>
                    <a:pt x="1834" y="2756"/>
                  </a:lnTo>
                  <a:lnTo>
                    <a:pt x="1783" y="2771"/>
                  </a:lnTo>
                  <a:lnTo>
                    <a:pt x="1744" y="2796"/>
                  </a:lnTo>
                  <a:lnTo>
                    <a:pt x="1706" y="2776"/>
                  </a:lnTo>
                  <a:lnTo>
                    <a:pt x="1685" y="2714"/>
                  </a:lnTo>
                  <a:lnTo>
                    <a:pt x="1690" y="2624"/>
                  </a:lnTo>
                  <a:lnTo>
                    <a:pt x="1678" y="2547"/>
                  </a:lnTo>
                  <a:lnTo>
                    <a:pt x="1620" y="2508"/>
                  </a:lnTo>
                  <a:lnTo>
                    <a:pt x="1678" y="2547"/>
                  </a:lnTo>
                  <a:lnTo>
                    <a:pt x="1694" y="2450"/>
                  </a:lnTo>
                  <a:lnTo>
                    <a:pt x="1721" y="2392"/>
                  </a:lnTo>
                  <a:lnTo>
                    <a:pt x="1733" y="2342"/>
                  </a:lnTo>
                  <a:lnTo>
                    <a:pt x="1709" y="2314"/>
                  </a:lnTo>
                  <a:lnTo>
                    <a:pt x="1667" y="2314"/>
                  </a:lnTo>
                  <a:lnTo>
                    <a:pt x="1655" y="2280"/>
                  </a:lnTo>
                  <a:lnTo>
                    <a:pt x="1652" y="2203"/>
                  </a:lnTo>
                  <a:lnTo>
                    <a:pt x="1637" y="2182"/>
                  </a:lnTo>
                  <a:lnTo>
                    <a:pt x="1578" y="2203"/>
                  </a:lnTo>
                  <a:lnTo>
                    <a:pt x="1504" y="2207"/>
                  </a:lnTo>
                  <a:lnTo>
                    <a:pt x="1465" y="2187"/>
                  </a:lnTo>
                  <a:lnTo>
                    <a:pt x="1446" y="2133"/>
                  </a:lnTo>
                  <a:lnTo>
                    <a:pt x="1388" y="2093"/>
                  </a:lnTo>
                  <a:lnTo>
                    <a:pt x="1391" y="2086"/>
                  </a:lnTo>
                  <a:lnTo>
                    <a:pt x="1442" y="2074"/>
                  </a:lnTo>
                  <a:lnTo>
                    <a:pt x="1446" y="2051"/>
                  </a:lnTo>
                  <a:lnTo>
                    <a:pt x="1419" y="2019"/>
                  </a:lnTo>
                  <a:lnTo>
                    <a:pt x="1406" y="1957"/>
                  </a:lnTo>
                  <a:lnTo>
                    <a:pt x="1348" y="1961"/>
                  </a:lnTo>
                  <a:lnTo>
                    <a:pt x="1330" y="1946"/>
                  </a:lnTo>
                  <a:lnTo>
                    <a:pt x="1291" y="1943"/>
                  </a:lnTo>
                  <a:lnTo>
                    <a:pt x="1236" y="1961"/>
                  </a:lnTo>
                  <a:lnTo>
                    <a:pt x="1221" y="1953"/>
                  </a:lnTo>
                  <a:lnTo>
                    <a:pt x="1182" y="1896"/>
                  </a:lnTo>
                  <a:lnTo>
                    <a:pt x="1151" y="1876"/>
                  </a:lnTo>
                  <a:lnTo>
                    <a:pt x="1089" y="1892"/>
                  </a:lnTo>
                  <a:lnTo>
                    <a:pt x="1066" y="1884"/>
                  </a:lnTo>
                  <a:lnTo>
                    <a:pt x="1047" y="1846"/>
                  </a:lnTo>
                  <a:lnTo>
                    <a:pt x="1027" y="1830"/>
                  </a:lnTo>
                  <a:lnTo>
                    <a:pt x="926" y="1823"/>
                  </a:lnTo>
                  <a:lnTo>
                    <a:pt x="895" y="1791"/>
                  </a:lnTo>
                  <a:lnTo>
                    <a:pt x="892" y="1740"/>
                  </a:lnTo>
                  <a:lnTo>
                    <a:pt x="915" y="1655"/>
                  </a:lnTo>
                  <a:lnTo>
                    <a:pt x="907" y="1620"/>
                  </a:lnTo>
                  <a:close/>
                </a:path>
              </a:pathLst>
            </a:custGeom>
            <a:solidFill>
              <a:srgbClr val="D4F0FB"/>
            </a:solidFill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5" name="Google Shape;608;p19">
              <a:extLst>
                <a:ext uri="{FF2B5EF4-FFF2-40B4-BE49-F238E27FC236}">
                  <a16:creationId xmlns:a16="http://schemas.microsoft.com/office/drawing/2014/main" id="{1FAA45DD-DEA3-4547-B1DD-E8A370295F0A}"/>
                </a:ext>
              </a:extLst>
            </p:cNvPr>
            <p:cNvSpPr/>
            <p:nvPr/>
          </p:nvSpPr>
          <p:spPr>
            <a:xfrm>
              <a:off x="3287" y="3828"/>
              <a:ext cx="60" cy="56"/>
            </a:xfrm>
            <a:custGeom>
              <a:avLst/>
              <a:gdLst/>
              <a:ahLst/>
              <a:cxnLst/>
              <a:rect l="l" t="t" r="r" b="b"/>
              <a:pathLst>
                <a:path w="208" h="209" extrusionOk="0">
                  <a:moveTo>
                    <a:pt x="0" y="0"/>
                  </a:moveTo>
                  <a:lnTo>
                    <a:pt x="23" y="16"/>
                  </a:lnTo>
                  <a:lnTo>
                    <a:pt x="42" y="55"/>
                  </a:lnTo>
                  <a:lnTo>
                    <a:pt x="77" y="94"/>
                  </a:lnTo>
                  <a:lnTo>
                    <a:pt x="119" y="124"/>
                  </a:lnTo>
                  <a:lnTo>
                    <a:pt x="180" y="173"/>
                  </a:lnTo>
                  <a:lnTo>
                    <a:pt x="208" y="209"/>
                  </a:lnTo>
                  <a:lnTo>
                    <a:pt x="173" y="209"/>
                  </a:lnTo>
                  <a:lnTo>
                    <a:pt x="119" y="205"/>
                  </a:lnTo>
                  <a:lnTo>
                    <a:pt x="70" y="193"/>
                  </a:lnTo>
                  <a:lnTo>
                    <a:pt x="34" y="178"/>
                  </a:lnTo>
                  <a:lnTo>
                    <a:pt x="3" y="173"/>
                  </a:lnTo>
                  <a:lnTo>
                    <a:pt x="8" y="119"/>
                  </a:lnTo>
                  <a:lnTo>
                    <a:pt x="8" y="5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6" name="Google Shape;609;p19">
              <a:extLst>
                <a:ext uri="{FF2B5EF4-FFF2-40B4-BE49-F238E27FC236}">
                  <a16:creationId xmlns:a16="http://schemas.microsoft.com/office/drawing/2014/main" id="{5894A34E-355E-4468-98E2-BADB883C7BEA}"/>
                </a:ext>
              </a:extLst>
            </p:cNvPr>
            <p:cNvSpPr/>
            <p:nvPr/>
          </p:nvSpPr>
          <p:spPr>
            <a:xfrm>
              <a:off x="3287" y="3828"/>
              <a:ext cx="60" cy="56"/>
            </a:xfrm>
            <a:custGeom>
              <a:avLst/>
              <a:gdLst/>
              <a:ahLst/>
              <a:cxnLst/>
              <a:rect l="l" t="t" r="r" b="b"/>
              <a:pathLst>
                <a:path w="208" h="209" extrusionOk="0">
                  <a:moveTo>
                    <a:pt x="0" y="0"/>
                  </a:moveTo>
                  <a:lnTo>
                    <a:pt x="23" y="16"/>
                  </a:lnTo>
                  <a:lnTo>
                    <a:pt x="42" y="55"/>
                  </a:lnTo>
                  <a:lnTo>
                    <a:pt x="77" y="94"/>
                  </a:lnTo>
                  <a:lnTo>
                    <a:pt x="119" y="124"/>
                  </a:lnTo>
                  <a:lnTo>
                    <a:pt x="180" y="173"/>
                  </a:lnTo>
                  <a:lnTo>
                    <a:pt x="208" y="209"/>
                  </a:lnTo>
                  <a:lnTo>
                    <a:pt x="173" y="209"/>
                  </a:lnTo>
                  <a:lnTo>
                    <a:pt x="119" y="205"/>
                  </a:lnTo>
                  <a:lnTo>
                    <a:pt x="70" y="193"/>
                  </a:lnTo>
                  <a:lnTo>
                    <a:pt x="34" y="178"/>
                  </a:lnTo>
                  <a:lnTo>
                    <a:pt x="3" y="173"/>
                  </a:lnTo>
                  <a:lnTo>
                    <a:pt x="8" y="119"/>
                  </a:lnTo>
                  <a:lnTo>
                    <a:pt x="8" y="59"/>
                  </a:lnTo>
                  <a:lnTo>
                    <a:pt x="0" y="0"/>
                  </a:lnTo>
                </a:path>
              </a:pathLst>
            </a:custGeom>
            <a:solidFill>
              <a:srgbClr val="B9D9E9"/>
            </a:solidFill>
            <a:ln w="12700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7" name="Google Shape;610;p19">
              <a:extLst>
                <a:ext uri="{FF2B5EF4-FFF2-40B4-BE49-F238E27FC236}">
                  <a16:creationId xmlns:a16="http://schemas.microsoft.com/office/drawing/2014/main" id="{D3589D75-FA27-42E5-AE6F-3AFA76376799}"/>
                </a:ext>
              </a:extLst>
            </p:cNvPr>
            <p:cNvSpPr/>
            <p:nvPr/>
          </p:nvSpPr>
          <p:spPr>
            <a:xfrm>
              <a:off x="3202" y="3081"/>
              <a:ext cx="520" cy="730"/>
            </a:xfrm>
            <a:custGeom>
              <a:avLst/>
              <a:gdLst/>
              <a:ahLst/>
              <a:cxnLst/>
              <a:rect l="l" t="t" r="r" b="b"/>
              <a:pathLst>
                <a:path w="1829" h="2776" extrusionOk="0">
                  <a:moveTo>
                    <a:pt x="1346" y="1131"/>
                  </a:moveTo>
                  <a:lnTo>
                    <a:pt x="1333" y="1131"/>
                  </a:lnTo>
                  <a:lnTo>
                    <a:pt x="1346" y="1161"/>
                  </a:lnTo>
                  <a:lnTo>
                    <a:pt x="1376" y="1201"/>
                  </a:lnTo>
                  <a:lnTo>
                    <a:pt x="1399" y="1221"/>
                  </a:lnTo>
                  <a:lnTo>
                    <a:pt x="1419" y="1239"/>
                  </a:lnTo>
                  <a:lnTo>
                    <a:pt x="1438" y="1263"/>
                  </a:lnTo>
                  <a:lnTo>
                    <a:pt x="1443" y="1282"/>
                  </a:lnTo>
                  <a:lnTo>
                    <a:pt x="1447" y="1302"/>
                  </a:lnTo>
                  <a:lnTo>
                    <a:pt x="1450" y="1340"/>
                  </a:lnTo>
                  <a:lnTo>
                    <a:pt x="1450" y="1364"/>
                  </a:lnTo>
                  <a:lnTo>
                    <a:pt x="1443" y="1384"/>
                  </a:lnTo>
                  <a:lnTo>
                    <a:pt x="1443" y="1402"/>
                  </a:lnTo>
                  <a:lnTo>
                    <a:pt x="1435" y="1426"/>
                  </a:lnTo>
                  <a:lnTo>
                    <a:pt x="1427" y="1446"/>
                  </a:lnTo>
                  <a:lnTo>
                    <a:pt x="1414" y="1468"/>
                  </a:lnTo>
                  <a:lnTo>
                    <a:pt x="1396" y="1488"/>
                  </a:lnTo>
                  <a:lnTo>
                    <a:pt x="1366" y="1507"/>
                  </a:lnTo>
                  <a:lnTo>
                    <a:pt x="1310" y="1531"/>
                  </a:lnTo>
                  <a:lnTo>
                    <a:pt x="1268" y="1554"/>
                  </a:lnTo>
                  <a:lnTo>
                    <a:pt x="1206" y="1577"/>
                  </a:lnTo>
                  <a:lnTo>
                    <a:pt x="1168" y="1597"/>
                  </a:lnTo>
                  <a:lnTo>
                    <a:pt x="1128" y="1615"/>
                  </a:lnTo>
                  <a:lnTo>
                    <a:pt x="1066" y="1624"/>
                  </a:lnTo>
                  <a:lnTo>
                    <a:pt x="1028" y="1638"/>
                  </a:lnTo>
                  <a:lnTo>
                    <a:pt x="965" y="1647"/>
                  </a:lnTo>
                  <a:lnTo>
                    <a:pt x="946" y="1643"/>
                  </a:lnTo>
                  <a:lnTo>
                    <a:pt x="927" y="1628"/>
                  </a:lnTo>
                  <a:lnTo>
                    <a:pt x="907" y="1635"/>
                  </a:lnTo>
                  <a:lnTo>
                    <a:pt x="903" y="1671"/>
                  </a:lnTo>
                  <a:lnTo>
                    <a:pt x="903" y="1689"/>
                  </a:lnTo>
                  <a:lnTo>
                    <a:pt x="899" y="1709"/>
                  </a:lnTo>
                  <a:lnTo>
                    <a:pt x="888" y="1728"/>
                  </a:lnTo>
                  <a:lnTo>
                    <a:pt x="888" y="1790"/>
                  </a:lnTo>
                  <a:lnTo>
                    <a:pt x="883" y="1806"/>
                  </a:lnTo>
                  <a:lnTo>
                    <a:pt x="869" y="1809"/>
                  </a:lnTo>
                  <a:lnTo>
                    <a:pt x="830" y="1818"/>
                  </a:lnTo>
                  <a:lnTo>
                    <a:pt x="787" y="1818"/>
                  </a:lnTo>
                  <a:lnTo>
                    <a:pt x="752" y="1813"/>
                  </a:lnTo>
                  <a:lnTo>
                    <a:pt x="725" y="1803"/>
                  </a:lnTo>
                  <a:lnTo>
                    <a:pt x="685" y="1798"/>
                  </a:lnTo>
                  <a:lnTo>
                    <a:pt x="663" y="1803"/>
                  </a:lnTo>
                  <a:lnTo>
                    <a:pt x="652" y="1806"/>
                  </a:lnTo>
                  <a:lnTo>
                    <a:pt x="644" y="1821"/>
                  </a:lnTo>
                  <a:lnTo>
                    <a:pt x="667" y="1903"/>
                  </a:lnTo>
                  <a:lnTo>
                    <a:pt x="675" y="1918"/>
                  </a:lnTo>
                  <a:lnTo>
                    <a:pt x="690" y="1923"/>
                  </a:lnTo>
                  <a:lnTo>
                    <a:pt x="733" y="1923"/>
                  </a:lnTo>
                  <a:lnTo>
                    <a:pt x="748" y="1941"/>
                  </a:lnTo>
                  <a:lnTo>
                    <a:pt x="752" y="1961"/>
                  </a:lnTo>
                  <a:lnTo>
                    <a:pt x="748" y="1976"/>
                  </a:lnTo>
                  <a:lnTo>
                    <a:pt x="733" y="1984"/>
                  </a:lnTo>
                  <a:lnTo>
                    <a:pt x="710" y="1981"/>
                  </a:lnTo>
                  <a:lnTo>
                    <a:pt x="695" y="1984"/>
                  </a:lnTo>
                  <a:lnTo>
                    <a:pt x="671" y="2007"/>
                  </a:lnTo>
                  <a:lnTo>
                    <a:pt x="663" y="2047"/>
                  </a:lnTo>
                  <a:lnTo>
                    <a:pt x="652" y="2065"/>
                  </a:lnTo>
                  <a:lnTo>
                    <a:pt x="647" y="2081"/>
                  </a:lnTo>
                  <a:lnTo>
                    <a:pt x="639" y="2093"/>
                  </a:lnTo>
                  <a:lnTo>
                    <a:pt x="632" y="2108"/>
                  </a:lnTo>
                  <a:lnTo>
                    <a:pt x="632" y="2131"/>
                  </a:lnTo>
                  <a:lnTo>
                    <a:pt x="636" y="2147"/>
                  </a:lnTo>
                  <a:lnTo>
                    <a:pt x="616" y="2170"/>
                  </a:lnTo>
                  <a:lnTo>
                    <a:pt x="604" y="2177"/>
                  </a:lnTo>
                  <a:lnTo>
                    <a:pt x="594" y="2185"/>
                  </a:lnTo>
                  <a:lnTo>
                    <a:pt x="578" y="2194"/>
                  </a:lnTo>
                  <a:lnTo>
                    <a:pt x="555" y="2194"/>
                  </a:lnTo>
                  <a:lnTo>
                    <a:pt x="535" y="2194"/>
                  </a:lnTo>
                  <a:lnTo>
                    <a:pt x="492" y="2194"/>
                  </a:lnTo>
                  <a:lnTo>
                    <a:pt x="472" y="2197"/>
                  </a:lnTo>
                  <a:lnTo>
                    <a:pt x="454" y="2217"/>
                  </a:lnTo>
                  <a:lnTo>
                    <a:pt x="439" y="2251"/>
                  </a:lnTo>
                  <a:lnTo>
                    <a:pt x="439" y="2279"/>
                  </a:lnTo>
                  <a:lnTo>
                    <a:pt x="446" y="2294"/>
                  </a:lnTo>
                  <a:lnTo>
                    <a:pt x="457" y="2317"/>
                  </a:lnTo>
                  <a:lnTo>
                    <a:pt x="500" y="2337"/>
                  </a:lnTo>
                  <a:lnTo>
                    <a:pt x="520" y="2352"/>
                  </a:lnTo>
                  <a:lnTo>
                    <a:pt x="540" y="2360"/>
                  </a:lnTo>
                  <a:lnTo>
                    <a:pt x="543" y="2375"/>
                  </a:lnTo>
                  <a:lnTo>
                    <a:pt x="540" y="2415"/>
                  </a:lnTo>
                  <a:lnTo>
                    <a:pt x="527" y="2423"/>
                  </a:lnTo>
                  <a:lnTo>
                    <a:pt x="504" y="2461"/>
                  </a:lnTo>
                  <a:lnTo>
                    <a:pt x="464" y="2504"/>
                  </a:lnTo>
                  <a:lnTo>
                    <a:pt x="446" y="2523"/>
                  </a:lnTo>
                  <a:lnTo>
                    <a:pt x="426" y="2527"/>
                  </a:lnTo>
                  <a:lnTo>
                    <a:pt x="423" y="2543"/>
                  </a:lnTo>
                  <a:lnTo>
                    <a:pt x="406" y="2562"/>
                  </a:lnTo>
                  <a:lnTo>
                    <a:pt x="403" y="2585"/>
                  </a:lnTo>
                  <a:lnTo>
                    <a:pt x="383" y="2589"/>
                  </a:lnTo>
                  <a:lnTo>
                    <a:pt x="364" y="2585"/>
                  </a:lnTo>
                  <a:lnTo>
                    <a:pt x="349" y="2593"/>
                  </a:lnTo>
                  <a:lnTo>
                    <a:pt x="344" y="2608"/>
                  </a:lnTo>
                  <a:lnTo>
                    <a:pt x="325" y="2651"/>
                  </a:lnTo>
                  <a:lnTo>
                    <a:pt x="314" y="2659"/>
                  </a:lnTo>
                  <a:lnTo>
                    <a:pt x="306" y="2670"/>
                  </a:lnTo>
                  <a:lnTo>
                    <a:pt x="287" y="2693"/>
                  </a:lnTo>
                  <a:lnTo>
                    <a:pt x="287" y="2713"/>
                  </a:lnTo>
                  <a:lnTo>
                    <a:pt x="275" y="2736"/>
                  </a:lnTo>
                  <a:lnTo>
                    <a:pt x="287" y="2756"/>
                  </a:lnTo>
                  <a:lnTo>
                    <a:pt x="287" y="2776"/>
                  </a:lnTo>
                  <a:lnTo>
                    <a:pt x="164" y="2776"/>
                  </a:lnTo>
                  <a:lnTo>
                    <a:pt x="88" y="2776"/>
                  </a:lnTo>
                  <a:lnTo>
                    <a:pt x="73" y="2761"/>
                  </a:lnTo>
                  <a:lnTo>
                    <a:pt x="65" y="2682"/>
                  </a:lnTo>
                  <a:lnTo>
                    <a:pt x="54" y="2674"/>
                  </a:lnTo>
                  <a:lnTo>
                    <a:pt x="34" y="2682"/>
                  </a:lnTo>
                  <a:lnTo>
                    <a:pt x="27" y="2685"/>
                  </a:lnTo>
                  <a:lnTo>
                    <a:pt x="14" y="2682"/>
                  </a:lnTo>
                  <a:lnTo>
                    <a:pt x="4" y="2667"/>
                  </a:lnTo>
                  <a:lnTo>
                    <a:pt x="0" y="2644"/>
                  </a:lnTo>
                  <a:lnTo>
                    <a:pt x="0" y="2589"/>
                  </a:lnTo>
                  <a:lnTo>
                    <a:pt x="7" y="2565"/>
                  </a:lnTo>
                  <a:lnTo>
                    <a:pt x="24" y="2550"/>
                  </a:lnTo>
                  <a:lnTo>
                    <a:pt x="54" y="2550"/>
                  </a:lnTo>
                  <a:lnTo>
                    <a:pt x="73" y="2527"/>
                  </a:lnTo>
                  <a:lnTo>
                    <a:pt x="73" y="2496"/>
                  </a:lnTo>
                  <a:lnTo>
                    <a:pt x="54" y="2472"/>
                  </a:lnTo>
                  <a:lnTo>
                    <a:pt x="54" y="2434"/>
                  </a:lnTo>
                  <a:lnTo>
                    <a:pt x="73" y="2395"/>
                  </a:lnTo>
                  <a:lnTo>
                    <a:pt x="108" y="2375"/>
                  </a:lnTo>
                  <a:lnTo>
                    <a:pt x="139" y="2344"/>
                  </a:lnTo>
                  <a:lnTo>
                    <a:pt x="147" y="2299"/>
                  </a:lnTo>
                  <a:lnTo>
                    <a:pt x="128" y="2271"/>
                  </a:lnTo>
                  <a:lnTo>
                    <a:pt x="88" y="2264"/>
                  </a:lnTo>
                  <a:lnTo>
                    <a:pt x="73" y="2228"/>
                  </a:lnTo>
                  <a:lnTo>
                    <a:pt x="69" y="2185"/>
                  </a:lnTo>
                  <a:lnTo>
                    <a:pt x="81" y="2159"/>
                  </a:lnTo>
                  <a:lnTo>
                    <a:pt x="105" y="2147"/>
                  </a:lnTo>
                  <a:lnTo>
                    <a:pt x="139" y="2164"/>
                  </a:lnTo>
                  <a:lnTo>
                    <a:pt x="154" y="2164"/>
                  </a:lnTo>
                  <a:lnTo>
                    <a:pt x="167" y="2131"/>
                  </a:lnTo>
                  <a:lnTo>
                    <a:pt x="144" y="2115"/>
                  </a:lnTo>
                  <a:lnTo>
                    <a:pt x="105" y="2108"/>
                  </a:lnTo>
                  <a:lnTo>
                    <a:pt x="105" y="2069"/>
                  </a:lnTo>
                  <a:lnTo>
                    <a:pt x="88" y="2054"/>
                  </a:lnTo>
                  <a:lnTo>
                    <a:pt x="81" y="2019"/>
                  </a:lnTo>
                  <a:lnTo>
                    <a:pt x="85" y="1984"/>
                  </a:lnTo>
                  <a:lnTo>
                    <a:pt x="101" y="1956"/>
                  </a:lnTo>
                  <a:lnTo>
                    <a:pt x="108" y="1941"/>
                  </a:lnTo>
                  <a:lnTo>
                    <a:pt x="101" y="1923"/>
                  </a:lnTo>
                  <a:lnTo>
                    <a:pt x="81" y="1899"/>
                  </a:lnTo>
                  <a:lnTo>
                    <a:pt x="81" y="1879"/>
                  </a:lnTo>
                  <a:lnTo>
                    <a:pt x="85" y="1860"/>
                  </a:lnTo>
                  <a:lnTo>
                    <a:pt x="105" y="1844"/>
                  </a:lnTo>
                  <a:lnTo>
                    <a:pt x="121" y="1826"/>
                  </a:lnTo>
                  <a:lnTo>
                    <a:pt x="124" y="1775"/>
                  </a:lnTo>
                  <a:lnTo>
                    <a:pt x="116" y="1728"/>
                  </a:lnTo>
                  <a:lnTo>
                    <a:pt x="124" y="1682"/>
                  </a:lnTo>
                  <a:lnTo>
                    <a:pt x="136" y="1651"/>
                  </a:lnTo>
                  <a:lnTo>
                    <a:pt x="170" y="1620"/>
                  </a:lnTo>
                  <a:lnTo>
                    <a:pt x="194" y="1580"/>
                  </a:lnTo>
                  <a:lnTo>
                    <a:pt x="189" y="1534"/>
                  </a:lnTo>
                  <a:lnTo>
                    <a:pt x="164" y="1496"/>
                  </a:lnTo>
                  <a:lnTo>
                    <a:pt x="154" y="1476"/>
                  </a:lnTo>
                  <a:lnTo>
                    <a:pt x="151" y="1460"/>
                  </a:lnTo>
                  <a:lnTo>
                    <a:pt x="154" y="1437"/>
                  </a:lnTo>
                  <a:lnTo>
                    <a:pt x="167" y="1426"/>
                  </a:lnTo>
                  <a:lnTo>
                    <a:pt x="202" y="1407"/>
                  </a:lnTo>
                  <a:lnTo>
                    <a:pt x="243" y="1399"/>
                  </a:lnTo>
                  <a:lnTo>
                    <a:pt x="243" y="1278"/>
                  </a:lnTo>
                  <a:lnTo>
                    <a:pt x="268" y="1244"/>
                  </a:lnTo>
                  <a:lnTo>
                    <a:pt x="275" y="1212"/>
                  </a:lnTo>
                  <a:lnTo>
                    <a:pt x="271" y="1193"/>
                  </a:lnTo>
                  <a:lnTo>
                    <a:pt x="260" y="1171"/>
                  </a:lnTo>
                  <a:lnTo>
                    <a:pt x="228" y="1112"/>
                  </a:lnTo>
                  <a:lnTo>
                    <a:pt x="221" y="1021"/>
                  </a:lnTo>
                  <a:lnTo>
                    <a:pt x="236" y="921"/>
                  </a:lnTo>
                  <a:lnTo>
                    <a:pt x="260" y="860"/>
                  </a:lnTo>
                  <a:lnTo>
                    <a:pt x="248" y="775"/>
                  </a:lnTo>
                  <a:lnTo>
                    <a:pt x="264" y="713"/>
                  </a:lnTo>
                  <a:lnTo>
                    <a:pt x="291" y="693"/>
                  </a:lnTo>
                  <a:lnTo>
                    <a:pt x="309" y="678"/>
                  </a:lnTo>
                  <a:lnTo>
                    <a:pt x="325" y="655"/>
                  </a:lnTo>
                  <a:lnTo>
                    <a:pt x="329" y="642"/>
                  </a:lnTo>
                  <a:lnTo>
                    <a:pt x="319" y="623"/>
                  </a:lnTo>
                  <a:lnTo>
                    <a:pt x="309" y="604"/>
                  </a:lnTo>
                  <a:lnTo>
                    <a:pt x="325" y="561"/>
                  </a:lnTo>
                  <a:lnTo>
                    <a:pt x="396" y="564"/>
                  </a:lnTo>
                  <a:lnTo>
                    <a:pt x="376" y="522"/>
                  </a:lnTo>
                  <a:lnTo>
                    <a:pt x="406" y="503"/>
                  </a:lnTo>
                  <a:lnTo>
                    <a:pt x="426" y="480"/>
                  </a:lnTo>
                  <a:lnTo>
                    <a:pt x="400" y="464"/>
                  </a:lnTo>
                  <a:lnTo>
                    <a:pt x="380" y="434"/>
                  </a:lnTo>
                  <a:lnTo>
                    <a:pt x="403" y="391"/>
                  </a:lnTo>
                  <a:lnTo>
                    <a:pt x="406" y="383"/>
                  </a:lnTo>
                  <a:lnTo>
                    <a:pt x="403" y="371"/>
                  </a:lnTo>
                  <a:lnTo>
                    <a:pt x="400" y="356"/>
                  </a:lnTo>
                  <a:lnTo>
                    <a:pt x="380" y="325"/>
                  </a:lnTo>
                  <a:lnTo>
                    <a:pt x="387" y="301"/>
                  </a:lnTo>
                  <a:lnTo>
                    <a:pt x="403" y="294"/>
                  </a:lnTo>
                  <a:lnTo>
                    <a:pt x="472" y="271"/>
                  </a:lnTo>
                  <a:lnTo>
                    <a:pt x="500" y="259"/>
                  </a:lnTo>
                  <a:lnTo>
                    <a:pt x="512" y="243"/>
                  </a:lnTo>
                  <a:lnTo>
                    <a:pt x="516" y="232"/>
                  </a:lnTo>
                  <a:lnTo>
                    <a:pt x="507" y="175"/>
                  </a:lnTo>
                  <a:lnTo>
                    <a:pt x="507" y="119"/>
                  </a:lnTo>
                  <a:lnTo>
                    <a:pt x="507" y="100"/>
                  </a:lnTo>
                  <a:lnTo>
                    <a:pt x="527" y="41"/>
                  </a:lnTo>
                  <a:lnTo>
                    <a:pt x="570" y="18"/>
                  </a:lnTo>
                  <a:lnTo>
                    <a:pt x="601" y="25"/>
                  </a:lnTo>
                  <a:lnTo>
                    <a:pt x="627" y="54"/>
                  </a:lnTo>
                  <a:lnTo>
                    <a:pt x="659" y="58"/>
                  </a:lnTo>
                  <a:lnTo>
                    <a:pt x="682" y="22"/>
                  </a:lnTo>
                  <a:lnTo>
                    <a:pt x="714" y="18"/>
                  </a:lnTo>
                  <a:lnTo>
                    <a:pt x="772" y="76"/>
                  </a:lnTo>
                  <a:lnTo>
                    <a:pt x="782" y="116"/>
                  </a:lnTo>
                  <a:lnTo>
                    <a:pt x="792" y="131"/>
                  </a:lnTo>
                  <a:lnTo>
                    <a:pt x="795" y="92"/>
                  </a:lnTo>
                  <a:lnTo>
                    <a:pt x="795" y="35"/>
                  </a:lnTo>
                  <a:lnTo>
                    <a:pt x="810" y="18"/>
                  </a:lnTo>
                  <a:lnTo>
                    <a:pt x="822" y="38"/>
                  </a:lnTo>
                  <a:lnTo>
                    <a:pt x="830" y="61"/>
                  </a:lnTo>
                  <a:lnTo>
                    <a:pt x="850" y="58"/>
                  </a:lnTo>
                  <a:lnTo>
                    <a:pt x="853" y="35"/>
                  </a:lnTo>
                  <a:lnTo>
                    <a:pt x="869" y="7"/>
                  </a:lnTo>
                  <a:lnTo>
                    <a:pt x="911" y="0"/>
                  </a:lnTo>
                  <a:lnTo>
                    <a:pt x="939" y="15"/>
                  </a:lnTo>
                  <a:lnTo>
                    <a:pt x="957" y="35"/>
                  </a:lnTo>
                  <a:lnTo>
                    <a:pt x="977" y="38"/>
                  </a:lnTo>
                  <a:lnTo>
                    <a:pt x="1016" y="35"/>
                  </a:lnTo>
                  <a:lnTo>
                    <a:pt x="1028" y="58"/>
                  </a:lnTo>
                  <a:lnTo>
                    <a:pt x="1066" y="80"/>
                  </a:lnTo>
                  <a:lnTo>
                    <a:pt x="1086" y="119"/>
                  </a:lnTo>
                  <a:lnTo>
                    <a:pt x="1109" y="135"/>
                  </a:lnTo>
                  <a:lnTo>
                    <a:pt x="1171" y="127"/>
                  </a:lnTo>
                  <a:lnTo>
                    <a:pt x="1206" y="142"/>
                  </a:lnTo>
                  <a:lnTo>
                    <a:pt x="1252" y="197"/>
                  </a:lnTo>
                  <a:lnTo>
                    <a:pt x="1303" y="216"/>
                  </a:lnTo>
                  <a:lnTo>
                    <a:pt x="1399" y="223"/>
                  </a:lnTo>
                  <a:lnTo>
                    <a:pt x="1430" y="256"/>
                  </a:lnTo>
                  <a:lnTo>
                    <a:pt x="1435" y="294"/>
                  </a:lnTo>
                  <a:lnTo>
                    <a:pt x="1376" y="367"/>
                  </a:lnTo>
                  <a:lnTo>
                    <a:pt x="1361" y="411"/>
                  </a:lnTo>
                  <a:lnTo>
                    <a:pt x="1361" y="445"/>
                  </a:lnTo>
                  <a:lnTo>
                    <a:pt x="1462" y="441"/>
                  </a:lnTo>
                  <a:lnTo>
                    <a:pt x="1521" y="453"/>
                  </a:lnTo>
                  <a:lnTo>
                    <a:pt x="1563" y="449"/>
                  </a:lnTo>
                  <a:lnTo>
                    <a:pt x="1605" y="421"/>
                  </a:lnTo>
                  <a:lnTo>
                    <a:pt x="1699" y="402"/>
                  </a:lnTo>
                  <a:lnTo>
                    <a:pt x="1710" y="383"/>
                  </a:lnTo>
                  <a:lnTo>
                    <a:pt x="1706" y="305"/>
                  </a:lnTo>
                  <a:lnTo>
                    <a:pt x="1718" y="271"/>
                  </a:lnTo>
                  <a:lnTo>
                    <a:pt x="1810" y="286"/>
                  </a:lnTo>
                  <a:lnTo>
                    <a:pt x="1826" y="313"/>
                  </a:lnTo>
                  <a:lnTo>
                    <a:pt x="1829" y="343"/>
                  </a:lnTo>
                  <a:lnTo>
                    <a:pt x="1814" y="383"/>
                  </a:lnTo>
                  <a:lnTo>
                    <a:pt x="1814" y="418"/>
                  </a:lnTo>
                  <a:lnTo>
                    <a:pt x="1806" y="429"/>
                  </a:lnTo>
                  <a:lnTo>
                    <a:pt x="1737" y="441"/>
                  </a:lnTo>
                  <a:lnTo>
                    <a:pt x="1655" y="495"/>
                  </a:lnTo>
                  <a:lnTo>
                    <a:pt x="1544" y="600"/>
                  </a:lnTo>
                  <a:lnTo>
                    <a:pt x="1438" y="732"/>
                  </a:lnTo>
                  <a:lnTo>
                    <a:pt x="1450" y="732"/>
                  </a:lnTo>
                  <a:lnTo>
                    <a:pt x="1399" y="825"/>
                  </a:lnTo>
                  <a:lnTo>
                    <a:pt x="1384" y="907"/>
                  </a:lnTo>
                  <a:lnTo>
                    <a:pt x="1396" y="980"/>
                  </a:lnTo>
                  <a:lnTo>
                    <a:pt x="1376" y="1000"/>
                  </a:lnTo>
                  <a:lnTo>
                    <a:pt x="1341" y="1000"/>
                  </a:lnTo>
                  <a:lnTo>
                    <a:pt x="1356" y="1027"/>
                  </a:lnTo>
                  <a:lnTo>
                    <a:pt x="1361" y="1081"/>
                  </a:lnTo>
                  <a:lnTo>
                    <a:pt x="1346" y="1131"/>
                  </a:lnTo>
                  <a:close/>
                </a:path>
              </a:pathLst>
            </a:custGeom>
            <a:solidFill>
              <a:srgbClr val="D4F0FB"/>
            </a:solidFill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8" name="Google Shape;611;p19">
              <a:extLst>
                <a:ext uri="{FF2B5EF4-FFF2-40B4-BE49-F238E27FC236}">
                  <a16:creationId xmlns:a16="http://schemas.microsoft.com/office/drawing/2014/main" id="{3FE411CC-D96F-4D20-BB9D-DCCB1D3A80A8}"/>
                </a:ext>
              </a:extLst>
            </p:cNvPr>
            <p:cNvSpPr/>
            <p:nvPr/>
          </p:nvSpPr>
          <p:spPr>
            <a:xfrm>
              <a:off x="3236" y="3828"/>
              <a:ext cx="53" cy="56"/>
            </a:xfrm>
            <a:custGeom>
              <a:avLst/>
              <a:gdLst/>
              <a:ahLst/>
              <a:cxnLst/>
              <a:rect l="l" t="t" r="r" b="b"/>
              <a:pathLst>
                <a:path w="186" h="209" extrusionOk="0">
                  <a:moveTo>
                    <a:pt x="181" y="173"/>
                  </a:moveTo>
                  <a:lnTo>
                    <a:pt x="139" y="198"/>
                  </a:lnTo>
                  <a:lnTo>
                    <a:pt x="90" y="209"/>
                  </a:lnTo>
                  <a:lnTo>
                    <a:pt x="27" y="193"/>
                  </a:lnTo>
                  <a:lnTo>
                    <a:pt x="4" y="181"/>
                  </a:lnTo>
                  <a:lnTo>
                    <a:pt x="0" y="158"/>
                  </a:lnTo>
                  <a:lnTo>
                    <a:pt x="7" y="139"/>
                  </a:lnTo>
                  <a:lnTo>
                    <a:pt x="20" y="128"/>
                  </a:lnTo>
                  <a:lnTo>
                    <a:pt x="55" y="124"/>
                  </a:lnTo>
                  <a:lnTo>
                    <a:pt x="85" y="135"/>
                  </a:lnTo>
                  <a:lnTo>
                    <a:pt x="103" y="132"/>
                  </a:lnTo>
                  <a:lnTo>
                    <a:pt x="108" y="104"/>
                  </a:lnTo>
                  <a:lnTo>
                    <a:pt x="81" y="94"/>
                  </a:lnTo>
                  <a:lnTo>
                    <a:pt x="81" y="82"/>
                  </a:lnTo>
                  <a:lnTo>
                    <a:pt x="103" y="67"/>
                  </a:lnTo>
                  <a:lnTo>
                    <a:pt x="75" y="62"/>
                  </a:lnTo>
                  <a:lnTo>
                    <a:pt x="66" y="43"/>
                  </a:lnTo>
                  <a:lnTo>
                    <a:pt x="78" y="32"/>
                  </a:lnTo>
                  <a:lnTo>
                    <a:pt x="139" y="0"/>
                  </a:lnTo>
                  <a:lnTo>
                    <a:pt x="177" y="0"/>
                  </a:lnTo>
                  <a:lnTo>
                    <a:pt x="186" y="59"/>
                  </a:lnTo>
                  <a:lnTo>
                    <a:pt x="186" y="119"/>
                  </a:lnTo>
                  <a:lnTo>
                    <a:pt x="181" y="173"/>
                  </a:lnTo>
                  <a:close/>
                </a:path>
              </a:pathLst>
            </a:custGeom>
            <a:noFill/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9" name="Google Shape;612;p19">
              <a:extLst>
                <a:ext uri="{FF2B5EF4-FFF2-40B4-BE49-F238E27FC236}">
                  <a16:creationId xmlns:a16="http://schemas.microsoft.com/office/drawing/2014/main" id="{83C19297-4266-493D-A6A6-7BF5730D0332}"/>
                </a:ext>
              </a:extLst>
            </p:cNvPr>
            <p:cNvSpPr/>
            <p:nvPr/>
          </p:nvSpPr>
          <p:spPr>
            <a:xfrm>
              <a:off x="3236" y="3828"/>
              <a:ext cx="53" cy="56"/>
            </a:xfrm>
            <a:custGeom>
              <a:avLst/>
              <a:gdLst/>
              <a:ahLst/>
              <a:cxnLst/>
              <a:rect l="l" t="t" r="r" b="b"/>
              <a:pathLst>
                <a:path w="186" h="209" extrusionOk="0">
                  <a:moveTo>
                    <a:pt x="181" y="173"/>
                  </a:moveTo>
                  <a:lnTo>
                    <a:pt x="139" y="198"/>
                  </a:lnTo>
                  <a:lnTo>
                    <a:pt x="90" y="209"/>
                  </a:lnTo>
                  <a:lnTo>
                    <a:pt x="27" y="193"/>
                  </a:lnTo>
                  <a:lnTo>
                    <a:pt x="4" y="181"/>
                  </a:lnTo>
                  <a:lnTo>
                    <a:pt x="0" y="158"/>
                  </a:lnTo>
                  <a:lnTo>
                    <a:pt x="7" y="139"/>
                  </a:lnTo>
                  <a:lnTo>
                    <a:pt x="20" y="128"/>
                  </a:lnTo>
                  <a:lnTo>
                    <a:pt x="55" y="124"/>
                  </a:lnTo>
                  <a:lnTo>
                    <a:pt x="85" y="135"/>
                  </a:lnTo>
                  <a:lnTo>
                    <a:pt x="103" y="132"/>
                  </a:lnTo>
                  <a:lnTo>
                    <a:pt x="108" y="104"/>
                  </a:lnTo>
                  <a:lnTo>
                    <a:pt x="81" y="94"/>
                  </a:lnTo>
                  <a:lnTo>
                    <a:pt x="81" y="82"/>
                  </a:lnTo>
                  <a:lnTo>
                    <a:pt x="103" y="67"/>
                  </a:lnTo>
                  <a:lnTo>
                    <a:pt x="75" y="62"/>
                  </a:lnTo>
                  <a:lnTo>
                    <a:pt x="66" y="43"/>
                  </a:lnTo>
                  <a:lnTo>
                    <a:pt x="78" y="32"/>
                  </a:lnTo>
                  <a:lnTo>
                    <a:pt x="139" y="0"/>
                  </a:lnTo>
                  <a:lnTo>
                    <a:pt x="177" y="0"/>
                  </a:lnTo>
                  <a:lnTo>
                    <a:pt x="186" y="59"/>
                  </a:lnTo>
                  <a:lnTo>
                    <a:pt x="186" y="119"/>
                  </a:lnTo>
                  <a:lnTo>
                    <a:pt x="181" y="173"/>
                  </a:lnTo>
                </a:path>
              </a:pathLst>
            </a:custGeom>
            <a:solidFill>
              <a:srgbClr val="93C5DE"/>
            </a:solidFill>
            <a:ln w="12700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0" name="Google Shape;613;p19">
              <a:extLst>
                <a:ext uri="{FF2B5EF4-FFF2-40B4-BE49-F238E27FC236}">
                  <a16:creationId xmlns:a16="http://schemas.microsoft.com/office/drawing/2014/main" id="{E1220ACC-37D1-4BDF-BEAC-F1D919F10AF3}"/>
                </a:ext>
              </a:extLst>
            </p:cNvPr>
            <p:cNvSpPr/>
            <p:nvPr/>
          </p:nvSpPr>
          <p:spPr>
            <a:xfrm>
              <a:off x="2958" y="2182"/>
              <a:ext cx="364" cy="422"/>
            </a:xfrm>
            <a:custGeom>
              <a:avLst/>
              <a:gdLst/>
              <a:ahLst/>
              <a:cxnLst/>
              <a:rect l="l" t="t" r="r" b="b"/>
              <a:pathLst>
                <a:path w="1281" h="1604" extrusionOk="0">
                  <a:moveTo>
                    <a:pt x="0" y="1177"/>
                  </a:moveTo>
                  <a:lnTo>
                    <a:pt x="9" y="1159"/>
                  </a:lnTo>
                  <a:lnTo>
                    <a:pt x="13" y="1139"/>
                  </a:lnTo>
                  <a:lnTo>
                    <a:pt x="24" y="1116"/>
                  </a:lnTo>
                  <a:lnTo>
                    <a:pt x="40" y="1096"/>
                  </a:lnTo>
                  <a:lnTo>
                    <a:pt x="79" y="1070"/>
                  </a:lnTo>
                  <a:lnTo>
                    <a:pt x="121" y="1050"/>
                  </a:lnTo>
                  <a:lnTo>
                    <a:pt x="147" y="1007"/>
                  </a:lnTo>
                  <a:lnTo>
                    <a:pt x="160" y="969"/>
                  </a:lnTo>
                  <a:lnTo>
                    <a:pt x="164" y="945"/>
                  </a:lnTo>
                  <a:lnTo>
                    <a:pt x="160" y="926"/>
                  </a:lnTo>
                  <a:lnTo>
                    <a:pt x="156" y="907"/>
                  </a:lnTo>
                  <a:lnTo>
                    <a:pt x="134" y="825"/>
                  </a:lnTo>
                  <a:lnTo>
                    <a:pt x="129" y="783"/>
                  </a:lnTo>
                  <a:lnTo>
                    <a:pt x="137" y="760"/>
                  </a:lnTo>
                  <a:lnTo>
                    <a:pt x="152" y="740"/>
                  </a:lnTo>
                  <a:lnTo>
                    <a:pt x="156" y="697"/>
                  </a:lnTo>
                  <a:lnTo>
                    <a:pt x="147" y="659"/>
                  </a:lnTo>
                  <a:lnTo>
                    <a:pt x="129" y="639"/>
                  </a:lnTo>
                  <a:lnTo>
                    <a:pt x="105" y="597"/>
                  </a:lnTo>
                  <a:lnTo>
                    <a:pt x="98" y="577"/>
                  </a:lnTo>
                  <a:lnTo>
                    <a:pt x="98" y="565"/>
                  </a:lnTo>
                  <a:lnTo>
                    <a:pt x="101" y="550"/>
                  </a:lnTo>
                  <a:lnTo>
                    <a:pt x="109" y="539"/>
                  </a:lnTo>
                  <a:lnTo>
                    <a:pt x="124" y="534"/>
                  </a:lnTo>
                  <a:lnTo>
                    <a:pt x="147" y="542"/>
                  </a:lnTo>
                  <a:lnTo>
                    <a:pt x="164" y="539"/>
                  </a:lnTo>
                  <a:lnTo>
                    <a:pt x="164" y="512"/>
                  </a:lnTo>
                  <a:lnTo>
                    <a:pt x="164" y="496"/>
                  </a:lnTo>
                  <a:lnTo>
                    <a:pt x="172" y="476"/>
                  </a:lnTo>
                  <a:lnTo>
                    <a:pt x="195" y="473"/>
                  </a:lnTo>
                  <a:lnTo>
                    <a:pt x="221" y="464"/>
                  </a:lnTo>
                  <a:lnTo>
                    <a:pt x="225" y="430"/>
                  </a:lnTo>
                  <a:lnTo>
                    <a:pt x="257" y="364"/>
                  </a:lnTo>
                  <a:lnTo>
                    <a:pt x="284" y="344"/>
                  </a:lnTo>
                  <a:lnTo>
                    <a:pt x="304" y="340"/>
                  </a:lnTo>
                  <a:lnTo>
                    <a:pt x="319" y="325"/>
                  </a:lnTo>
                  <a:lnTo>
                    <a:pt x="319" y="283"/>
                  </a:lnTo>
                  <a:lnTo>
                    <a:pt x="322" y="263"/>
                  </a:lnTo>
                  <a:lnTo>
                    <a:pt x="338" y="240"/>
                  </a:lnTo>
                  <a:lnTo>
                    <a:pt x="358" y="221"/>
                  </a:lnTo>
                  <a:lnTo>
                    <a:pt x="365" y="201"/>
                  </a:lnTo>
                  <a:lnTo>
                    <a:pt x="380" y="194"/>
                  </a:lnTo>
                  <a:lnTo>
                    <a:pt x="419" y="197"/>
                  </a:lnTo>
                  <a:lnTo>
                    <a:pt x="442" y="214"/>
                  </a:lnTo>
                  <a:lnTo>
                    <a:pt x="462" y="197"/>
                  </a:lnTo>
                  <a:lnTo>
                    <a:pt x="462" y="174"/>
                  </a:lnTo>
                  <a:lnTo>
                    <a:pt x="470" y="163"/>
                  </a:lnTo>
                  <a:lnTo>
                    <a:pt x="481" y="155"/>
                  </a:lnTo>
                  <a:lnTo>
                    <a:pt x="500" y="147"/>
                  </a:lnTo>
                  <a:lnTo>
                    <a:pt x="579" y="107"/>
                  </a:lnTo>
                  <a:lnTo>
                    <a:pt x="660" y="64"/>
                  </a:lnTo>
                  <a:lnTo>
                    <a:pt x="680" y="23"/>
                  </a:lnTo>
                  <a:lnTo>
                    <a:pt x="706" y="7"/>
                  </a:lnTo>
                  <a:lnTo>
                    <a:pt x="737" y="0"/>
                  </a:lnTo>
                  <a:lnTo>
                    <a:pt x="752" y="7"/>
                  </a:lnTo>
                  <a:lnTo>
                    <a:pt x="761" y="23"/>
                  </a:lnTo>
                  <a:lnTo>
                    <a:pt x="757" y="42"/>
                  </a:lnTo>
                  <a:lnTo>
                    <a:pt x="741" y="61"/>
                  </a:lnTo>
                  <a:lnTo>
                    <a:pt x="722" y="77"/>
                  </a:lnTo>
                  <a:lnTo>
                    <a:pt x="714" y="104"/>
                  </a:lnTo>
                  <a:lnTo>
                    <a:pt x="714" y="138"/>
                  </a:lnTo>
                  <a:lnTo>
                    <a:pt x="688" y="170"/>
                  </a:lnTo>
                  <a:lnTo>
                    <a:pt x="637" y="197"/>
                  </a:lnTo>
                  <a:lnTo>
                    <a:pt x="601" y="244"/>
                  </a:lnTo>
                  <a:lnTo>
                    <a:pt x="582" y="352"/>
                  </a:lnTo>
                  <a:lnTo>
                    <a:pt x="536" y="425"/>
                  </a:lnTo>
                  <a:lnTo>
                    <a:pt x="536" y="442"/>
                  </a:lnTo>
                  <a:lnTo>
                    <a:pt x="555" y="445"/>
                  </a:lnTo>
                  <a:lnTo>
                    <a:pt x="601" y="430"/>
                  </a:lnTo>
                  <a:lnTo>
                    <a:pt x="621" y="445"/>
                  </a:lnTo>
                  <a:lnTo>
                    <a:pt x="633" y="542"/>
                  </a:lnTo>
                  <a:lnTo>
                    <a:pt x="668" y="580"/>
                  </a:lnTo>
                  <a:lnTo>
                    <a:pt x="722" y="608"/>
                  </a:lnTo>
                  <a:lnTo>
                    <a:pt x="776" y="616"/>
                  </a:lnTo>
                  <a:lnTo>
                    <a:pt x="835" y="597"/>
                  </a:lnTo>
                  <a:lnTo>
                    <a:pt x="866" y="600"/>
                  </a:lnTo>
                  <a:lnTo>
                    <a:pt x="909" y="628"/>
                  </a:lnTo>
                  <a:lnTo>
                    <a:pt x="943" y="671"/>
                  </a:lnTo>
                  <a:lnTo>
                    <a:pt x="978" y="709"/>
                  </a:lnTo>
                  <a:lnTo>
                    <a:pt x="1021" y="729"/>
                  </a:lnTo>
                  <a:lnTo>
                    <a:pt x="1079" y="704"/>
                  </a:lnTo>
                  <a:lnTo>
                    <a:pt x="1156" y="724"/>
                  </a:lnTo>
                  <a:lnTo>
                    <a:pt x="1176" y="763"/>
                  </a:lnTo>
                  <a:lnTo>
                    <a:pt x="1171" y="806"/>
                  </a:lnTo>
                  <a:lnTo>
                    <a:pt x="1156" y="859"/>
                  </a:lnTo>
                  <a:lnTo>
                    <a:pt x="1164" y="902"/>
                  </a:lnTo>
                  <a:lnTo>
                    <a:pt x="1191" y="918"/>
                  </a:lnTo>
                  <a:lnTo>
                    <a:pt x="1219" y="930"/>
                  </a:lnTo>
                  <a:lnTo>
                    <a:pt x="1234" y="956"/>
                  </a:lnTo>
                  <a:lnTo>
                    <a:pt x="1199" y="984"/>
                  </a:lnTo>
                  <a:lnTo>
                    <a:pt x="1211" y="1042"/>
                  </a:lnTo>
                  <a:lnTo>
                    <a:pt x="1245" y="1085"/>
                  </a:lnTo>
                  <a:lnTo>
                    <a:pt x="1268" y="1136"/>
                  </a:lnTo>
                  <a:lnTo>
                    <a:pt x="1281" y="1197"/>
                  </a:lnTo>
                  <a:lnTo>
                    <a:pt x="1238" y="1210"/>
                  </a:lnTo>
                  <a:lnTo>
                    <a:pt x="1226" y="1194"/>
                  </a:lnTo>
                  <a:lnTo>
                    <a:pt x="1219" y="1151"/>
                  </a:lnTo>
                  <a:lnTo>
                    <a:pt x="1211" y="1131"/>
                  </a:lnTo>
                  <a:lnTo>
                    <a:pt x="1187" y="1143"/>
                  </a:lnTo>
                  <a:lnTo>
                    <a:pt x="1181" y="1162"/>
                  </a:lnTo>
                  <a:lnTo>
                    <a:pt x="1161" y="1162"/>
                  </a:lnTo>
                  <a:lnTo>
                    <a:pt x="1141" y="1143"/>
                  </a:lnTo>
                  <a:lnTo>
                    <a:pt x="1105" y="1155"/>
                  </a:lnTo>
                  <a:lnTo>
                    <a:pt x="1094" y="1181"/>
                  </a:lnTo>
                  <a:lnTo>
                    <a:pt x="1075" y="1190"/>
                  </a:lnTo>
                  <a:lnTo>
                    <a:pt x="1041" y="1174"/>
                  </a:lnTo>
                  <a:lnTo>
                    <a:pt x="1001" y="1177"/>
                  </a:lnTo>
                  <a:lnTo>
                    <a:pt x="983" y="1190"/>
                  </a:lnTo>
                  <a:lnTo>
                    <a:pt x="986" y="1201"/>
                  </a:lnTo>
                  <a:lnTo>
                    <a:pt x="1009" y="1205"/>
                  </a:lnTo>
                  <a:lnTo>
                    <a:pt x="1041" y="1213"/>
                  </a:lnTo>
                  <a:lnTo>
                    <a:pt x="1056" y="1228"/>
                  </a:lnTo>
                  <a:lnTo>
                    <a:pt x="1051" y="1251"/>
                  </a:lnTo>
                  <a:lnTo>
                    <a:pt x="993" y="1279"/>
                  </a:lnTo>
                  <a:lnTo>
                    <a:pt x="970" y="1298"/>
                  </a:lnTo>
                  <a:lnTo>
                    <a:pt x="963" y="1329"/>
                  </a:lnTo>
                  <a:lnTo>
                    <a:pt x="970" y="1368"/>
                  </a:lnTo>
                  <a:lnTo>
                    <a:pt x="998" y="1411"/>
                  </a:lnTo>
                  <a:lnTo>
                    <a:pt x="1032" y="1453"/>
                  </a:lnTo>
                  <a:lnTo>
                    <a:pt x="1044" y="1489"/>
                  </a:lnTo>
                  <a:lnTo>
                    <a:pt x="1041" y="1532"/>
                  </a:lnTo>
                  <a:lnTo>
                    <a:pt x="1026" y="1558"/>
                  </a:lnTo>
                  <a:lnTo>
                    <a:pt x="1016" y="1604"/>
                  </a:lnTo>
                  <a:lnTo>
                    <a:pt x="955" y="1600"/>
                  </a:lnTo>
                  <a:lnTo>
                    <a:pt x="924" y="1586"/>
                  </a:lnTo>
                  <a:lnTo>
                    <a:pt x="905" y="1566"/>
                  </a:lnTo>
                  <a:lnTo>
                    <a:pt x="876" y="1566"/>
                  </a:lnTo>
                  <a:lnTo>
                    <a:pt x="846" y="1570"/>
                  </a:lnTo>
                  <a:lnTo>
                    <a:pt x="830" y="1589"/>
                  </a:lnTo>
                  <a:lnTo>
                    <a:pt x="811" y="1589"/>
                  </a:lnTo>
                  <a:lnTo>
                    <a:pt x="792" y="1589"/>
                  </a:lnTo>
                  <a:lnTo>
                    <a:pt x="757" y="1577"/>
                  </a:lnTo>
                  <a:lnTo>
                    <a:pt x="714" y="1570"/>
                  </a:lnTo>
                  <a:lnTo>
                    <a:pt x="680" y="1589"/>
                  </a:lnTo>
                  <a:lnTo>
                    <a:pt x="660" y="1589"/>
                  </a:lnTo>
                  <a:lnTo>
                    <a:pt x="637" y="1570"/>
                  </a:lnTo>
                  <a:lnTo>
                    <a:pt x="614" y="1519"/>
                  </a:lnTo>
                  <a:lnTo>
                    <a:pt x="582" y="1476"/>
                  </a:lnTo>
                  <a:lnTo>
                    <a:pt x="485" y="1441"/>
                  </a:lnTo>
                  <a:lnTo>
                    <a:pt x="389" y="1379"/>
                  </a:lnTo>
                  <a:lnTo>
                    <a:pt x="312" y="1352"/>
                  </a:lnTo>
                  <a:lnTo>
                    <a:pt x="264" y="1349"/>
                  </a:lnTo>
                  <a:lnTo>
                    <a:pt x="225" y="1356"/>
                  </a:lnTo>
                  <a:lnTo>
                    <a:pt x="195" y="1352"/>
                  </a:lnTo>
                  <a:lnTo>
                    <a:pt x="183" y="1332"/>
                  </a:lnTo>
                  <a:lnTo>
                    <a:pt x="183" y="1298"/>
                  </a:lnTo>
                  <a:lnTo>
                    <a:pt x="191" y="1268"/>
                  </a:lnTo>
                  <a:lnTo>
                    <a:pt x="180" y="1263"/>
                  </a:lnTo>
                  <a:lnTo>
                    <a:pt x="124" y="1268"/>
                  </a:lnTo>
                  <a:lnTo>
                    <a:pt x="86" y="1260"/>
                  </a:lnTo>
                  <a:lnTo>
                    <a:pt x="47" y="1232"/>
                  </a:lnTo>
                  <a:lnTo>
                    <a:pt x="9" y="1201"/>
                  </a:lnTo>
                  <a:lnTo>
                    <a:pt x="0" y="1177"/>
                  </a:lnTo>
                  <a:close/>
                </a:path>
              </a:pathLst>
            </a:custGeom>
            <a:noFill/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1" name="Google Shape;614;p19">
              <a:extLst>
                <a:ext uri="{FF2B5EF4-FFF2-40B4-BE49-F238E27FC236}">
                  <a16:creationId xmlns:a16="http://schemas.microsoft.com/office/drawing/2014/main" id="{ADB1B866-A40A-446D-85F4-97990CF63302}"/>
                </a:ext>
              </a:extLst>
            </p:cNvPr>
            <p:cNvSpPr/>
            <p:nvPr/>
          </p:nvSpPr>
          <p:spPr>
            <a:xfrm>
              <a:off x="2958" y="2182"/>
              <a:ext cx="364" cy="422"/>
            </a:xfrm>
            <a:custGeom>
              <a:avLst/>
              <a:gdLst/>
              <a:ahLst/>
              <a:cxnLst/>
              <a:rect l="l" t="t" r="r" b="b"/>
              <a:pathLst>
                <a:path w="1281" h="1604" extrusionOk="0">
                  <a:moveTo>
                    <a:pt x="0" y="1177"/>
                  </a:moveTo>
                  <a:lnTo>
                    <a:pt x="9" y="1159"/>
                  </a:lnTo>
                  <a:lnTo>
                    <a:pt x="13" y="1139"/>
                  </a:lnTo>
                  <a:lnTo>
                    <a:pt x="24" y="1116"/>
                  </a:lnTo>
                  <a:lnTo>
                    <a:pt x="40" y="1096"/>
                  </a:lnTo>
                  <a:lnTo>
                    <a:pt x="79" y="1070"/>
                  </a:lnTo>
                  <a:lnTo>
                    <a:pt x="121" y="1050"/>
                  </a:lnTo>
                  <a:lnTo>
                    <a:pt x="147" y="1007"/>
                  </a:lnTo>
                  <a:lnTo>
                    <a:pt x="160" y="969"/>
                  </a:lnTo>
                  <a:lnTo>
                    <a:pt x="164" y="945"/>
                  </a:lnTo>
                  <a:lnTo>
                    <a:pt x="160" y="926"/>
                  </a:lnTo>
                  <a:lnTo>
                    <a:pt x="156" y="907"/>
                  </a:lnTo>
                  <a:lnTo>
                    <a:pt x="134" y="825"/>
                  </a:lnTo>
                  <a:lnTo>
                    <a:pt x="129" y="783"/>
                  </a:lnTo>
                  <a:lnTo>
                    <a:pt x="137" y="760"/>
                  </a:lnTo>
                  <a:lnTo>
                    <a:pt x="152" y="740"/>
                  </a:lnTo>
                  <a:lnTo>
                    <a:pt x="156" y="697"/>
                  </a:lnTo>
                  <a:lnTo>
                    <a:pt x="147" y="659"/>
                  </a:lnTo>
                  <a:lnTo>
                    <a:pt x="129" y="639"/>
                  </a:lnTo>
                  <a:lnTo>
                    <a:pt x="105" y="597"/>
                  </a:lnTo>
                  <a:lnTo>
                    <a:pt x="98" y="577"/>
                  </a:lnTo>
                  <a:lnTo>
                    <a:pt x="98" y="565"/>
                  </a:lnTo>
                  <a:lnTo>
                    <a:pt x="101" y="550"/>
                  </a:lnTo>
                  <a:lnTo>
                    <a:pt x="109" y="539"/>
                  </a:lnTo>
                  <a:lnTo>
                    <a:pt x="124" y="534"/>
                  </a:lnTo>
                  <a:lnTo>
                    <a:pt x="147" y="542"/>
                  </a:lnTo>
                  <a:lnTo>
                    <a:pt x="164" y="539"/>
                  </a:lnTo>
                  <a:lnTo>
                    <a:pt x="164" y="512"/>
                  </a:lnTo>
                  <a:lnTo>
                    <a:pt x="164" y="496"/>
                  </a:lnTo>
                  <a:lnTo>
                    <a:pt x="172" y="476"/>
                  </a:lnTo>
                  <a:lnTo>
                    <a:pt x="195" y="473"/>
                  </a:lnTo>
                  <a:lnTo>
                    <a:pt x="221" y="464"/>
                  </a:lnTo>
                  <a:lnTo>
                    <a:pt x="225" y="430"/>
                  </a:lnTo>
                  <a:lnTo>
                    <a:pt x="257" y="364"/>
                  </a:lnTo>
                  <a:lnTo>
                    <a:pt x="284" y="344"/>
                  </a:lnTo>
                  <a:lnTo>
                    <a:pt x="304" y="340"/>
                  </a:lnTo>
                  <a:lnTo>
                    <a:pt x="319" y="325"/>
                  </a:lnTo>
                  <a:lnTo>
                    <a:pt x="319" y="283"/>
                  </a:lnTo>
                  <a:lnTo>
                    <a:pt x="322" y="263"/>
                  </a:lnTo>
                  <a:lnTo>
                    <a:pt x="338" y="240"/>
                  </a:lnTo>
                  <a:lnTo>
                    <a:pt x="358" y="221"/>
                  </a:lnTo>
                  <a:lnTo>
                    <a:pt x="365" y="201"/>
                  </a:lnTo>
                  <a:lnTo>
                    <a:pt x="380" y="194"/>
                  </a:lnTo>
                  <a:lnTo>
                    <a:pt x="419" y="197"/>
                  </a:lnTo>
                  <a:lnTo>
                    <a:pt x="442" y="214"/>
                  </a:lnTo>
                  <a:lnTo>
                    <a:pt x="462" y="197"/>
                  </a:lnTo>
                  <a:lnTo>
                    <a:pt x="462" y="174"/>
                  </a:lnTo>
                  <a:lnTo>
                    <a:pt x="470" y="163"/>
                  </a:lnTo>
                  <a:lnTo>
                    <a:pt x="481" y="155"/>
                  </a:lnTo>
                  <a:lnTo>
                    <a:pt x="500" y="147"/>
                  </a:lnTo>
                  <a:lnTo>
                    <a:pt x="579" y="107"/>
                  </a:lnTo>
                  <a:lnTo>
                    <a:pt x="660" y="64"/>
                  </a:lnTo>
                  <a:lnTo>
                    <a:pt x="680" y="23"/>
                  </a:lnTo>
                  <a:lnTo>
                    <a:pt x="706" y="7"/>
                  </a:lnTo>
                  <a:lnTo>
                    <a:pt x="737" y="0"/>
                  </a:lnTo>
                  <a:lnTo>
                    <a:pt x="752" y="7"/>
                  </a:lnTo>
                  <a:lnTo>
                    <a:pt x="761" y="23"/>
                  </a:lnTo>
                  <a:lnTo>
                    <a:pt x="757" y="42"/>
                  </a:lnTo>
                  <a:lnTo>
                    <a:pt x="741" y="61"/>
                  </a:lnTo>
                  <a:lnTo>
                    <a:pt x="722" y="77"/>
                  </a:lnTo>
                  <a:lnTo>
                    <a:pt x="714" y="104"/>
                  </a:lnTo>
                  <a:lnTo>
                    <a:pt x="714" y="138"/>
                  </a:lnTo>
                  <a:lnTo>
                    <a:pt x="688" y="170"/>
                  </a:lnTo>
                  <a:lnTo>
                    <a:pt x="637" y="197"/>
                  </a:lnTo>
                  <a:lnTo>
                    <a:pt x="601" y="244"/>
                  </a:lnTo>
                  <a:lnTo>
                    <a:pt x="582" y="352"/>
                  </a:lnTo>
                  <a:lnTo>
                    <a:pt x="536" y="425"/>
                  </a:lnTo>
                  <a:lnTo>
                    <a:pt x="536" y="442"/>
                  </a:lnTo>
                  <a:lnTo>
                    <a:pt x="555" y="445"/>
                  </a:lnTo>
                  <a:lnTo>
                    <a:pt x="601" y="430"/>
                  </a:lnTo>
                  <a:lnTo>
                    <a:pt x="621" y="445"/>
                  </a:lnTo>
                  <a:lnTo>
                    <a:pt x="633" y="542"/>
                  </a:lnTo>
                  <a:lnTo>
                    <a:pt x="668" y="580"/>
                  </a:lnTo>
                  <a:lnTo>
                    <a:pt x="722" y="608"/>
                  </a:lnTo>
                  <a:lnTo>
                    <a:pt x="776" y="616"/>
                  </a:lnTo>
                  <a:lnTo>
                    <a:pt x="835" y="597"/>
                  </a:lnTo>
                  <a:lnTo>
                    <a:pt x="866" y="600"/>
                  </a:lnTo>
                  <a:lnTo>
                    <a:pt x="909" y="628"/>
                  </a:lnTo>
                  <a:lnTo>
                    <a:pt x="943" y="671"/>
                  </a:lnTo>
                  <a:lnTo>
                    <a:pt x="978" y="709"/>
                  </a:lnTo>
                  <a:lnTo>
                    <a:pt x="1021" y="729"/>
                  </a:lnTo>
                  <a:lnTo>
                    <a:pt x="1079" y="704"/>
                  </a:lnTo>
                  <a:lnTo>
                    <a:pt x="1156" y="724"/>
                  </a:lnTo>
                  <a:lnTo>
                    <a:pt x="1176" y="763"/>
                  </a:lnTo>
                  <a:lnTo>
                    <a:pt x="1171" y="806"/>
                  </a:lnTo>
                  <a:lnTo>
                    <a:pt x="1156" y="859"/>
                  </a:lnTo>
                  <a:lnTo>
                    <a:pt x="1164" y="902"/>
                  </a:lnTo>
                  <a:lnTo>
                    <a:pt x="1191" y="918"/>
                  </a:lnTo>
                  <a:lnTo>
                    <a:pt x="1219" y="930"/>
                  </a:lnTo>
                  <a:lnTo>
                    <a:pt x="1234" y="956"/>
                  </a:lnTo>
                  <a:lnTo>
                    <a:pt x="1199" y="984"/>
                  </a:lnTo>
                  <a:lnTo>
                    <a:pt x="1211" y="1042"/>
                  </a:lnTo>
                  <a:lnTo>
                    <a:pt x="1245" y="1085"/>
                  </a:lnTo>
                  <a:lnTo>
                    <a:pt x="1268" y="1136"/>
                  </a:lnTo>
                  <a:lnTo>
                    <a:pt x="1281" y="1197"/>
                  </a:lnTo>
                  <a:lnTo>
                    <a:pt x="1238" y="1210"/>
                  </a:lnTo>
                  <a:lnTo>
                    <a:pt x="1226" y="1194"/>
                  </a:lnTo>
                  <a:lnTo>
                    <a:pt x="1219" y="1151"/>
                  </a:lnTo>
                  <a:lnTo>
                    <a:pt x="1211" y="1131"/>
                  </a:lnTo>
                  <a:lnTo>
                    <a:pt x="1187" y="1143"/>
                  </a:lnTo>
                  <a:lnTo>
                    <a:pt x="1181" y="1162"/>
                  </a:lnTo>
                  <a:lnTo>
                    <a:pt x="1161" y="1162"/>
                  </a:lnTo>
                  <a:lnTo>
                    <a:pt x="1141" y="1143"/>
                  </a:lnTo>
                  <a:lnTo>
                    <a:pt x="1105" y="1155"/>
                  </a:lnTo>
                  <a:lnTo>
                    <a:pt x="1094" y="1181"/>
                  </a:lnTo>
                  <a:lnTo>
                    <a:pt x="1075" y="1190"/>
                  </a:lnTo>
                  <a:lnTo>
                    <a:pt x="1041" y="1174"/>
                  </a:lnTo>
                  <a:lnTo>
                    <a:pt x="1001" y="1177"/>
                  </a:lnTo>
                  <a:lnTo>
                    <a:pt x="983" y="1190"/>
                  </a:lnTo>
                  <a:lnTo>
                    <a:pt x="986" y="1201"/>
                  </a:lnTo>
                  <a:lnTo>
                    <a:pt x="1009" y="1205"/>
                  </a:lnTo>
                  <a:lnTo>
                    <a:pt x="1041" y="1213"/>
                  </a:lnTo>
                  <a:lnTo>
                    <a:pt x="1056" y="1228"/>
                  </a:lnTo>
                  <a:lnTo>
                    <a:pt x="1051" y="1251"/>
                  </a:lnTo>
                  <a:lnTo>
                    <a:pt x="993" y="1279"/>
                  </a:lnTo>
                  <a:lnTo>
                    <a:pt x="970" y="1298"/>
                  </a:lnTo>
                  <a:lnTo>
                    <a:pt x="963" y="1329"/>
                  </a:lnTo>
                  <a:lnTo>
                    <a:pt x="970" y="1368"/>
                  </a:lnTo>
                  <a:lnTo>
                    <a:pt x="998" y="1411"/>
                  </a:lnTo>
                  <a:lnTo>
                    <a:pt x="1032" y="1453"/>
                  </a:lnTo>
                  <a:lnTo>
                    <a:pt x="1044" y="1489"/>
                  </a:lnTo>
                  <a:lnTo>
                    <a:pt x="1041" y="1532"/>
                  </a:lnTo>
                  <a:lnTo>
                    <a:pt x="1026" y="1558"/>
                  </a:lnTo>
                  <a:lnTo>
                    <a:pt x="1016" y="1604"/>
                  </a:lnTo>
                  <a:lnTo>
                    <a:pt x="955" y="1600"/>
                  </a:lnTo>
                  <a:lnTo>
                    <a:pt x="924" y="1586"/>
                  </a:lnTo>
                  <a:lnTo>
                    <a:pt x="905" y="1566"/>
                  </a:lnTo>
                  <a:lnTo>
                    <a:pt x="876" y="1566"/>
                  </a:lnTo>
                  <a:lnTo>
                    <a:pt x="846" y="1570"/>
                  </a:lnTo>
                  <a:lnTo>
                    <a:pt x="830" y="1589"/>
                  </a:lnTo>
                  <a:lnTo>
                    <a:pt x="811" y="1589"/>
                  </a:lnTo>
                  <a:lnTo>
                    <a:pt x="792" y="1589"/>
                  </a:lnTo>
                  <a:lnTo>
                    <a:pt x="757" y="1577"/>
                  </a:lnTo>
                  <a:lnTo>
                    <a:pt x="714" y="1570"/>
                  </a:lnTo>
                  <a:lnTo>
                    <a:pt x="680" y="1589"/>
                  </a:lnTo>
                  <a:lnTo>
                    <a:pt x="660" y="1589"/>
                  </a:lnTo>
                  <a:lnTo>
                    <a:pt x="637" y="1570"/>
                  </a:lnTo>
                  <a:lnTo>
                    <a:pt x="614" y="1519"/>
                  </a:lnTo>
                  <a:lnTo>
                    <a:pt x="582" y="1476"/>
                  </a:lnTo>
                  <a:lnTo>
                    <a:pt x="485" y="1441"/>
                  </a:lnTo>
                  <a:lnTo>
                    <a:pt x="389" y="1379"/>
                  </a:lnTo>
                  <a:lnTo>
                    <a:pt x="312" y="1352"/>
                  </a:lnTo>
                  <a:lnTo>
                    <a:pt x="264" y="1349"/>
                  </a:lnTo>
                  <a:lnTo>
                    <a:pt x="225" y="1356"/>
                  </a:lnTo>
                  <a:lnTo>
                    <a:pt x="195" y="1352"/>
                  </a:lnTo>
                  <a:lnTo>
                    <a:pt x="183" y="1332"/>
                  </a:lnTo>
                  <a:lnTo>
                    <a:pt x="183" y="1298"/>
                  </a:lnTo>
                  <a:lnTo>
                    <a:pt x="191" y="1268"/>
                  </a:lnTo>
                  <a:lnTo>
                    <a:pt x="180" y="1263"/>
                  </a:lnTo>
                  <a:lnTo>
                    <a:pt x="124" y="1268"/>
                  </a:lnTo>
                  <a:lnTo>
                    <a:pt x="86" y="1260"/>
                  </a:lnTo>
                  <a:lnTo>
                    <a:pt x="47" y="1232"/>
                  </a:lnTo>
                  <a:lnTo>
                    <a:pt x="9" y="1201"/>
                  </a:lnTo>
                  <a:lnTo>
                    <a:pt x="0" y="1177"/>
                  </a:lnTo>
                </a:path>
              </a:pathLst>
            </a:custGeom>
            <a:solidFill>
              <a:srgbClr val="337AB7"/>
            </a:solidFill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2" name="Google Shape;615;p19">
              <a:extLst>
                <a:ext uri="{FF2B5EF4-FFF2-40B4-BE49-F238E27FC236}">
                  <a16:creationId xmlns:a16="http://schemas.microsoft.com/office/drawing/2014/main" id="{79FDBFB6-42B1-47A8-8FDF-3B09E6DB38A7}"/>
                </a:ext>
              </a:extLst>
            </p:cNvPr>
            <p:cNvSpPr/>
            <p:nvPr/>
          </p:nvSpPr>
          <p:spPr>
            <a:xfrm>
              <a:off x="3214" y="2603"/>
              <a:ext cx="34" cy="44"/>
            </a:xfrm>
            <a:custGeom>
              <a:avLst/>
              <a:gdLst/>
              <a:ahLst/>
              <a:cxnLst/>
              <a:rect l="l" t="t" r="r" b="b"/>
              <a:pathLst>
                <a:path w="120" h="171" extrusionOk="0">
                  <a:moveTo>
                    <a:pt x="46" y="0"/>
                  </a:moveTo>
                  <a:lnTo>
                    <a:pt x="0" y="171"/>
                  </a:lnTo>
                  <a:lnTo>
                    <a:pt x="77" y="167"/>
                  </a:lnTo>
                  <a:lnTo>
                    <a:pt x="120" y="58"/>
                  </a:lnTo>
                  <a:lnTo>
                    <a:pt x="112" y="0"/>
                  </a:lnTo>
                  <a:lnTo>
                    <a:pt x="39" y="4"/>
                  </a:lnTo>
                  <a:lnTo>
                    <a:pt x="43" y="0"/>
                  </a:lnTo>
                  <a:lnTo>
                    <a:pt x="46" y="0"/>
                  </a:lnTo>
                  <a:close/>
                </a:path>
              </a:pathLst>
            </a:custGeom>
            <a:noFill/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3" name="Google Shape;616;p19">
              <a:extLst>
                <a:ext uri="{FF2B5EF4-FFF2-40B4-BE49-F238E27FC236}">
                  <a16:creationId xmlns:a16="http://schemas.microsoft.com/office/drawing/2014/main" id="{E2D9016C-C74D-48B0-BAE8-E745ECA1C3FA}"/>
                </a:ext>
              </a:extLst>
            </p:cNvPr>
            <p:cNvSpPr/>
            <p:nvPr/>
          </p:nvSpPr>
          <p:spPr>
            <a:xfrm>
              <a:off x="3214" y="2603"/>
              <a:ext cx="34" cy="44"/>
            </a:xfrm>
            <a:custGeom>
              <a:avLst/>
              <a:gdLst/>
              <a:ahLst/>
              <a:cxnLst/>
              <a:rect l="l" t="t" r="r" b="b"/>
              <a:pathLst>
                <a:path w="120" h="171" extrusionOk="0">
                  <a:moveTo>
                    <a:pt x="46" y="0"/>
                  </a:moveTo>
                  <a:lnTo>
                    <a:pt x="0" y="171"/>
                  </a:lnTo>
                  <a:lnTo>
                    <a:pt x="77" y="167"/>
                  </a:lnTo>
                  <a:lnTo>
                    <a:pt x="120" y="58"/>
                  </a:lnTo>
                  <a:lnTo>
                    <a:pt x="112" y="0"/>
                  </a:lnTo>
                  <a:lnTo>
                    <a:pt x="39" y="4"/>
                  </a:lnTo>
                  <a:lnTo>
                    <a:pt x="43" y="0"/>
                  </a:lnTo>
                  <a:lnTo>
                    <a:pt x="46" y="0"/>
                  </a:lnTo>
                </a:path>
              </a:pathLst>
            </a:custGeom>
            <a:noFill/>
            <a:ln w="12700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4" name="Google Shape;617;p19">
              <a:extLst>
                <a:ext uri="{FF2B5EF4-FFF2-40B4-BE49-F238E27FC236}">
                  <a16:creationId xmlns:a16="http://schemas.microsoft.com/office/drawing/2014/main" id="{B40A7B03-6477-4F2E-85E1-A3860FE242B5}"/>
                </a:ext>
              </a:extLst>
            </p:cNvPr>
            <p:cNvSpPr/>
            <p:nvPr/>
          </p:nvSpPr>
          <p:spPr>
            <a:xfrm>
              <a:off x="3231" y="2593"/>
              <a:ext cx="12" cy="12"/>
            </a:xfrm>
            <a:prstGeom prst="rect">
              <a:avLst/>
            </a:prstGeom>
            <a:noFill/>
            <a:ln w="12700" cap="flat" cmpd="sng">
              <a:solidFill>
                <a:srgbClr val="00000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Arial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5" name="Google Shape;618;p19">
              <a:extLst>
                <a:ext uri="{FF2B5EF4-FFF2-40B4-BE49-F238E27FC236}">
                  <a16:creationId xmlns:a16="http://schemas.microsoft.com/office/drawing/2014/main" id="{E25D7DAC-0CF9-41B1-8E82-902E187D08F8}"/>
                </a:ext>
              </a:extLst>
            </p:cNvPr>
            <p:cNvSpPr/>
            <p:nvPr/>
          </p:nvSpPr>
          <p:spPr>
            <a:xfrm>
              <a:off x="3235" y="2596"/>
              <a:ext cx="3" cy="7"/>
            </a:xfrm>
            <a:prstGeom prst="rect">
              <a:avLst/>
            </a:prstGeom>
            <a:noFill/>
            <a:ln w="12700" cap="flat" cmpd="sng">
              <a:solidFill>
                <a:srgbClr val="00800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Arial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6" name="Google Shape;619;p19">
              <a:extLst>
                <a:ext uri="{FF2B5EF4-FFF2-40B4-BE49-F238E27FC236}">
                  <a16:creationId xmlns:a16="http://schemas.microsoft.com/office/drawing/2014/main" id="{83B68C4E-0A9C-4850-B067-1404F28216F5}"/>
                </a:ext>
              </a:extLst>
            </p:cNvPr>
            <p:cNvSpPr/>
            <p:nvPr/>
          </p:nvSpPr>
          <p:spPr>
            <a:xfrm>
              <a:off x="3486" y="3001"/>
              <a:ext cx="215" cy="200"/>
            </a:xfrm>
            <a:custGeom>
              <a:avLst/>
              <a:gdLst/>
              <a:ahLst/>
              <a:cxnLst/>
              <a:rect l="l" t="t" r="r" b="b"/>
              <a:pathLst>
                <a:path w="755" h="760" extrusionOk="0">
                  <a:moveTo>
                    <a:pt x="721" y="578"/>
                  </a:moveTo>
                  <a:lnTo>
                    <a:pt x="709" y="612"/>
                  </a:lnTo>
                  <a:lnTo>
                    <a:pt x="713" y="693"/>
                  </a:lnTo>
                  <a:lnTo>
                    <a:pt x="702" y="709"/>
                  </a:lnTo>
                  <a:lnTo>
                    <a:pt x="608" y="733"/>
                  </a:lnTo>
                  <a:lnTo>
                    <a:pt x="566" y="760"/>
                  </a:lnTo>
                  <a:lnTo>
                    <a:pt x="527" y="760"/>
                  </a:lnTo>
                  <a:lnTo>
                    <a:pt x="465" y="752"/>
                  </a:lnTo>
                  <a:lnTo>
                    <a:pt x="364" y="756"/>
                  </a:lnTo>
                  <a:lnTo>
                    <a:pt x="364" y="718"/>
                  </a:lnTo>
                  <a:lnTo>
                    <a:pt x="384" y="678"/>
                  </a:lnTo>
                  <a:lnTo>
                    <a:pt x="438" y="601"/>
                  </a:lnTo>
                  <a:lnTo>
                    <a:pt x="433" y="563"/>
                  </a:lnTo>
                  <a:lnTo>
                    <a:pt x="402" y="535"/>
                  </a:lnTo>
                  <a:lnTo>
                    <a:pt x="306" y="528"/>
                  </a:lnTo>
                  <a:lnTo>
                    <a:pt x="255" y="504"/>
                  </a:lnTo>
                  <a:lnTo>
                    <a:pt x="209" y="453"/>
                  </a:lnTo>
                  <a:lnTo>
                    <a:pt x="174" y="434"/>
                  </a:lnTo>
                  <a:lnTo>
                    <a:pt x="112" y="446"/>
                  </a:lnTo>
                  <a:lnTo>
                    <a:pt x="89" y="426"/>
                  </a:lnTo>
                  <a:lnTo>
                    <a:pt x="69" y="387"/>
                  </a:lnTo>
                  <a:lnTo>
                    <a:pt x="31" y="365"/>
                  </a:lnTo>
                  <a:lnTo>
                    <a:pt x="19" y="342"/>
                  </a:lnTo>
                  <a:lnTo>
                    <a:pt x="19" y="287"/>
                  </a:lnTo>
                  <a:lnTo>
                    <a:pt x="0" y="202"/>
                  </a:lnTo>
                  <a:lnTo>
                    <a:pt x="0" y="174"/>
                  </a:lnTo>
                  <a:lnTo>
                    <a:pt x="34" y="151"/>
                  </a:lnTo>
                  <a:lnTo>
                    <a:pt x="50" y="116"/>
                  </a:lnTo>
                  <a:lnTo>
                    <a:pt x="50" y="38"/>
                  </a:lnTo>
                  <a:lnTo>
                    <a:pt x="69" y="23"/>
                  </a:lnTo>
                  <a:lnTo>
                    <a:pt x="163" y="15"/>
                  </a:lnTo>
                  <a:lnTo>
                    <a:pt x="268" y="0"/>
                  </a:lnTo>
                  <a:lnTo>
                    <a:pt x="349" y="11"/>
                  </a:lnTo>
                  <a:lnTo>
                    <a:pt x="407" y="53"/>
                  </a:lnTo>
                  <a:lnTo>
                    <a:pt x="417" y="131"/>
                  </a:lnTo>
                  <a:lnTo>
                    <a:pt x="414" y="221"/>
                  </a:lnTo>
                  <a:lnTo>
                    <a:pt x="433" y="279"/>
                  </a:lnTo>
                  <a:lnTo>
                    <a:pt x="476" y="299"/>
                  </a:lnTo>
                  <a:lnTo>
                    <a:pt x="511" y="274"/>
                  </a:lnTo>
                  <a:lnTo>
                    <a:pt x="562" y="259"/>
                  </a:lnTo>
                  <a:lnTo>
                    <a:pt x="608" y="256"/>
                  </a:lnTo>
                  <a:lnTo>
                    <a:pt x="620" y="267"/>
                  </a:lnTo>
                  <a:lnTo>
                    <a:pt x="631" y="283"/>
                  </a:lnTo>
                  <a:lnTo>
                    <a:pt x="635" y="299"/>
                  </a:lnTo>
                  <a:lnTo>
                    <a:pt x="631" y="317"/>
                  </a:lnTo>
                  <a:lnTo>
                    <a:pt x="624" y="352"/>
                  </a:lnTo>
                  <a:lnTo>
                    <a:pt x="620" y="365"/>
                  </a:lnTo>
                  <a:lnTo>
                    <a:pt x="620" y="383"/>
                  </a:lnTo>
                  <a:lnTo>
                    <a:pt x="628" y="399"/>
                  </a:lnTo>
                  <a:lnTo>
                    <a:pt x="639" y="407"/>
                  </a:lnTo>
                  <a:lnTo>
                    <a:pt x="686" y="399"/>
                  </a:lnTo>
                  <a:lnTo>
                    <a:pt x="697" y="399"/>
                  </a:lnTo>
                  <a:lnTo>
                    <a:pt x="709" y="399"/>
                  </a:lnTo>
                  <a:lnTo>
                    <a:pt x="732" y="411"/>
                  </a:lnTo>
                  <a:lnTo>
                    <a:pt x="752" y="446"/>
                  </a:lnTo>
                  <a:lnTo>
                    <a:pt x="755" y="485"/>
                  </a:lnTo>
                  <a:lnTo>
                    <a:pt x="745" y="543"/>
                  </a:lnTo>
                  <a:lnTo>
                    <a:pt x="721" y="578"/>
                  </a:lnTo>
                </a:path>
              </a:pathLst>
            </a:custGeom>
            <a:solidFill>
              <a:srgbClr val="337AB7"/>
            </a:solidFill>
            <a:ln w="12700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7" name="Google Shape;620;p19">
              <a:extLst>
                <a:ext uri="{FF2B5EF4-FFF2-40B4-BE49-F238E27FC236}">
                  <a16:creationId xmlns:a16="http://schemas.microsoft.com/office/drawing/2014/main" id="{0FBD70E1-0D86-431F-991E-83739CD14E24}"/>
                </a:ext>
              </a:extLst>
            </p:cNvPr>
            <p:cNvSpPr/>
            <p:nvPr/>
          </p:nvSpPr>
          <p:spPr>
            <a:xfrm>
              <a:off x="2681" y="2207"/>
              <a:ext cx="58" cy="29"/>
            </a:xfrm>
            <a:custGeom>
              <a:avLst/>
              <a:gdLst/>
              <a:ahLst/>
              <a:cxnLst/>
              <a:rect l="l" t="t" r="r" b="b"/>
              <a:pathLst>
                <a:path w="206" h="106" extrusionOk="0">
                  <a:moveTo>
                    <a:pt x="0" y="64"/>
                  </a:moveTo>
                  <a:lnTo>
                    <a:pt x="29" y="71"/>
                  </a:lnTo>
                  <a:lnTo>
                    <a:pt x="63" y="81"/>
                  </a:lnTo>
                  <a:lnTo>
                    <a:pt x="105" y="93"/>
                  </a:lnTo>
                  <a:lnTo>
                    <a:pt x="143" y="106"/>
                  </a:lnTo>
                  <a:lnTo>
                    <a:pt x="173" y="102"/>
                  </a:lnTo>
                  <a:lnTo>
                    <a:pt x="193" y="88"/>
                  </a:lnTo>
                  <a:lnTo>
                    <a:pt x="206" y="83"/>
                  </a:lnTo>
                  <a:lnTo>
                    <a:pt x="194" y="36"/>
                  </a:lnTo>
                  <a:lnTo>
                    <a:pt x="177" y="18"/>
                  </a:lnTo>
                  <a:lnTo>
                    <a:pt x="135" y="5"/>
                  </a:lnTo>
                  <a:lnTo>
                    <a:pt x="80" y="0"/>
                  </a:lnTo>
                  <a:lnTo>
                    <a:pt x="67" y="13"/>
                  </a:lnTo>
                  <a:lnTo>
                    <a:pt x="47" y="22"/>
                  </a:lnTo>
                  <a:lnTo>
                    <a:pt x="30" y="31"/>
                  </a:lnTo>
                  <a:lnTo>
                    <a:pt x="17" y="39"/>
                  </a:lnTo>
                  <a:lnTo>
                    <a:pt x="6" y="50"/>
                  </a:lnTo>
                  <a:lnTo>
                    <a:pt x="0" y="64"/>
                  </a:lnTo>
                  <a:close/>
                </a:path>
              </a:pathLst>
            </a:custGeom>
            <a:noFill/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8" name="Google Shape;621;p19">
              <a:extLst>
                <a:ext uri="{FF2B5EF4-FFF2-40B4-BE49-F238E27FC236}">
                  <a16:creationId xmlns:a16="http://schemas.microsoft.com/office/drawing/2014/main" id="{9E8FDA87-2FC3-434A-9332-826CE6DDBA6A}"/>
                </a:ext>
              </a:extLst>
            </p:cNvPr>
            <p:cNvSpPr/>
            <p:nvPr/>
          </p:nvSpPr>
          <p:spPr>
            <a:xfrm>
              <a:off x="2681" y="2207"/>
              <a:ext cx="58" cy="29"/>
            </a:xfrm>
            <a:custGeom>
              <a:avLst/>
              <a:gdLst/>
              <a:ahLst/>
              <a:cxnLst/>
              <a:rect l="l" t="t" r="r" b="b"/>
              <a:pathLst>
                <a:path w="206" h="106" extrusionOk="0">
                  <a:moveTo>
                    <a:pt x="0" y="64"/>
                  </a:moveTo>
                  <a:lnTo>
                    <a:pt x="29" y="71"/>
                  </a:lnTo>
                  <a:lnTo>
                    <a:pt x="63" y="81"/>
                  </a:lnTo>
                  <a:lnTo>
                    <a:pt x="105" y="93"/>
                  </a:lnTo>
                  <a:lnTo>
                    <a:pt x="143" y="106"/>
                  </a:lnTo>
                  <a:lnTo>
                    <a:pt x="173" y="102"/>
                  </a:lnTo>
                  <a:lnTo>
                    <a:pt x="193" y="88"/>
                  </a:lnTo>
                  <a:lnTo>
                    <a:pt x="206" y="83"/>
                  </a:lnTo>
                  <a:lnTo>
                    <a:pt x="194" y="36"/>
                  </a:lnTo>
                  <a:lnTo>
                    <a:pt x="177" y="18"/>
                  </a:lnTo>
                  <a:lnTo>
                    <a:pt x="135" y="5"/>
                  </a:lnTo>
                  <a:lnTo>
                    <a:pt x="80" y="0"/>
                  </a:lnTo>
                  <a:lnTo>
                    <a:pt x="67" y="13"/>
                  </a:lnTo>
                  <a:lnTo>
                    <a:pt x="47" y="22"/>
                  </a:lnTo>
                  <a:lnTo>
                    <a:pt x="30" y="31"/>
                  </a:lnTo>
                  <a:lnTo>
                    <a:pt x="17" y="39"/>
                  </a:lnTo>
                  <a:lnTo>
                    <a:pt x="6" y="50"/>
                  </a:lnTo>
                  <a:lnTo>
                    <a:pt x="0" y="64"/>
                  </a:lnTo>
                </a:path>
              </a:pathLst>
            </a:custGeom>
            <a:solidFill>
              <a:srgbClr val="B9D9E9"/>
            </a:solidFill>
            <a:ln w="12700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9" name="Google Shape;622;p19">
              <a:extLst>
                <a:ext uri="{FF2B5EF4-FFF2-40B4-BE49-F238E27FC236}">
                  <a16:creationId xmlns:a16="http://schemas.microsoft.com/office/drawing/2014/main" id="{53D21E9B-B1AF-46E8-AB5D-24021F26F726}"/>
                </a:ext>
              </a:extLst>
            </p:cNvPr>
            <p:cNvSpPr/>
            <p:nvPr/>
          </p:nvSpPr>
          <p:spPr>
            <a:xfrm>
              <a:off x="2789" y="2267"/>
              <a:ext cx="77" cy="69"/>
            </a:xfrm>
            <a:custGeom>
              <a:avLst/>
              <a:gdLst/>
              <a:ahLst/>
              <a:cxnLst/>
              <a:rect l="l" t="t" r="r" b="b"/>
              <a:pathLst>
                <a:path w="272" h="264" extrusionOk="0">
                  <a:moveTo>
                    <a:pt x="5" y="40"/>
                  </a:moveTo>
                  <a:lnTo>
                    <a:pt x="0" y="80"/>
                  </a:lnTo>
                  <a:lnTo>
                    <a:pt x="5" y="106"/>
                  </a:lnTo>
                  <a:lnTo>
                    <a:pt x="35" y="122"/>
                  </a:lnTo>
                  <a:lnTo>
                    <a:pt x="54" y="127"/>
                  </a:lnTo>
                  <a:lnTo>
                    <a:pt x="73" y="121"/>
                  </a:lnTo>
                  <a:lnTo>
                    <a:pt x="90" y="130"/>
                  </a:lnTo>
                  <a:lnTo>
                    <a:pt x="101" y="166"/>
                  </a:lnTo>
                  <a:lnTo>
                    <a:pt x="115" y="154"/>
                  </a:lnTo>
                  <a:lnTo>
                    <a:pt x="160" y="175"/>
                  </a:lnTo>
                  <a:lnTo>
                    <a:pt x="195" y="206"/>
                  </a:lnTo>
                  <a:lnTo>
                    <a:pt x="202" y="235"/>
                  </a:lnTo>
                  <a:lnTo>
                    <a:pt x="213" y="249"/>
                  </a:lnTo>
                  <a:lnTo>
                    <a:pt x="235" y="248"/>
                  </a:lnTo>
                  <a:lnTo>
                    <a:pt x="260" y="257"/>
                  </a:lnTo>
                  <a:lnTo>
                    <a:pt x="272" y="264"/>
                  </a:lnTo>
                  <a:lnTo>
                    <a:pt x="260" y="257"/>
                  </a:lnTo>
                  <a:lnTo>
                    <a:pt x="249" y="230"/>
                  </a:lnTo>
                  <a:lnTo>
                    <a:pt x="248" y="206"/>
                  </a:lnTo>
                  <a:lnTo>
                    <a:pt x="253" y="197"/>
                  </a:lnTo>
                  <a:lnTo>
                    <a:pt x="261" y="189"/>
                  </a:lnTo>
                  <a:lnTo>
                    <a:pt x="258" y="175"/>
                  </a:lnTo>
                  <a:lnTo>
                    <a:pt x="241" y="160"/>
                  </a:lnTo>
                  <a:lnTo>
                    <a:pt x="260" y="124"/>
                  </a:lnTo>
                  <a:lnTo>
                    <a:pt x="265" y="116"/>
                  </a:lnTo>
                  <a:lnTo>
                    <a:pt x="233" y="90"/>
                  </a:lnTo>
                  <a:lnTo>
                    <a:pt x="160" y="19"/>
                  </a:lnTo>
                  <a:lnTo>
                    <a:pt x="133" y="20"/>
                  </a:lnTo>
                  <a:lnTo>
                    <a:pt x="118" y="18"/>
                  </a:lnTo>
                  <a:lnTo>
                    <a:pt x="102" y="5"/>
                  </a:lnTo>
                  <a:lnTo>
                    <a:pt x="81" y="0"/>
                  </a:lnTo>
                  <a:lnTo>
                    <a:pt x="64" y="7"/>
                  </a:lnTo>
                  <a:lnTo>
                    <a:pt x="48" y="20"/>
                  </a:lnTo>
                  <a:lnTo>
                    <a:pt x="5" y="40"/>
                  </a:lnTo>
                  <a:close/>
                </a:path>
              </a:pathLst>
            </a:custGeom>
            <a:noFill/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0" name="Google Shape;623;p19">
              <a:extLst>
                <a:ext uri="{FF2B5EF4-FFF2-40B4-BE49-F238E27FC236}">
                  <a16:creationId xmlns:a16="http://schemas.microsoft.com/office/drawing/2014/main" id="{FD62DA4A-A3B6-4920-B028-90DF9DC66C18}"/>
                </a:ext>
              </a:extLst>
            </p:cNvPr>
            <p:cNvSpPr/>
            <p:nvPr/>
          </p:nvSpPr>
          <p:spPr>
            <a:xfrm>
              <a:off x="2789" y="2267"/>
              <a:ext cx="77" cy="69"/>
            </a:xfrm>
            <a:custGeom>
              <a:avLst/>
              <a:gdLst/>
              <a:ahLst/>
              <a:cxnLst/>
              <a:rect l="l" t="t" r="r" b="b"/>
              <a:pathLst>
                <a:path w="272" h="264" extrusionOk="0">
                  <a:moveTo>
                    <a:pt x="5" y="40"/>
                  </a:moveTo>
                  <a:lnTo>
                    <a:pt x="0" y="80"/>
                  </a:lnTo>
                  <a:lnTo>
                    <a:pt x="5" y="106"/>
                  </a:lnTo>
                  <a:lnTo>
                    <a:pt x="35" y="122"/>
                  </a:lnTo>
                  <a:lnTo>
                    <a:pt x="54" y="127"/>
                  </a:lnTo>
                  <a:lnTo>
                    <a:pt x="73" y="121"/>
                  </a:lnTo>
                  <a:lnTo>
                    <a:pt x="90" y="130"/>
                  </a:lnTo>
                  <a:lnTo>
                    <a:pt x="101" y="166"/>
                  </a:lnTo>
                  <a:lnTo>
                    <a:pt x="115" y="154"/>
                  </a:lnTo>
                  <a:lnTo>
                    <a:pt x="160" y="175"/>
                  </a:lnTo>
                  <a:lnTo>
                    <a:pt x="195" y="206"/>
                  </a:lnTo>
                  <a:lnTo>
                    <a:pt x="202" y="235"/>
                  </a:lnTo>
                  <a:lnTo>
                    <a:pt x="213" y="249"/>
                  </a:lnTo>
                  <a:lnTo>
                    <a:pt x="235" y="248"/>
                  </a:lnTo>
                  <a:lnTo>
                    <a:pt x="260" y="257"/>
                  </a:lnTo>
                  <a:lnTo>
                    <a:pt x="272" y="264"/>
                  </a:lnTo>
                  <a:lnTo>
                    <a:pt x="260" y="257"/>
                  </a:lnTo>
                  <a:lnTo>
                    <a:pt x="249" y="230"/>
                  </a:lnTo>
                  <a:lnTo>
                    <a:pt x="248" y="206"/>
                  </a:lnTo>
                  <a:lnTo>
                    <a:pt x="253" y="197"/>
                  </a:lnTo>
                  <a:lnTo>
                    <a:pt x="261" y="189"/>
                  </a:lnTo>
                  <a:lnTo>
                    <a:pt x="258" y="175"/>
                  </a:lnTo>
                  <a:lnTo>
                    <a:pt x="241" y="160"/>
                  </a:lnTo>
                  <a:lnTo>
                    <a:pt x="260" y="124"/>
                  </a:lnTo>
                  <a:lnTo>
                    <a:pt x="265" y="116"/>
                  </a:lnTo>
                  <a:lnTo>
                    <a:pt x="233" y="90"/>
                  </a:lnTo>
                  <a:lnTo>
                    <a:pt x="160" y="19"/>
                  </a:lnTo>
                  <a:lnTo>
                    <a:pt x="133" y="20"/>
                  </a:lnTo>
                  <a:lnTo>
                    <a:pt x="118" y="18"/>
                  </a:lnTo>
                  <a:lnTo>
                    <a:pt x="102" y="5"/>
                  </a:lnTo>
                  <a:lnTo>
                    <a:pt x="81" y="0"/>
                  </a:lnTo>
                  <a:lnTo>
                    <a:pt x="64" y="7"/>
                  </a:lnTo>
                  <a:lnTo>
                    <a:pt x="48" y="20"/>
                  </a:lnTo>
                  <a:lnTo>
                    <a:pt x="5" y="40"/>
                  </a:lnTo>
                </a:path>
              </a:pathLst>
            </a:custGeom>
            <a:solidFill>
              <a:srgbClr val="B9D9E9"/>
            </a:solidFill>
            <a:ln w="12700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51" name="Google Shape;627;p19">
            <a:extLst>
              <a:ext uri="{FF2B5EF4-FFF2-40B4-BE49-F238E27FC236}">
                <a16:creationId xmlns:a16="http://schemas.microsoft.com/office/drawing/2014/main" id="{C186EA1B-1BB2-4B55-BAE9-78FE892078D3}"/>
              </a:ext>
            </a:extLst>
          </p:cNvPr>
          <p:cNvSpPr txBox="1"/>
          <p:nvPr/>
        </p:nvSpPr>
        <p:spPr>
          <a:xfrm>
            <a:off x="3013462" y="3110179"/>
            <a:ext cx="1137185" cy="2311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tabLst/>
              <a:defRPr/>
            </a:pPr>
            <a:r>
              <a:rPr kumimoji="0" lang="es-PE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Venezuela </a:t>
            </a:r>
            <a:endParaRPr kumimoji="0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2" name="Google Shape;627;p19">
            <a:extLst>
              <a:ext uri="{FF2B5EF4-FFF2-40B4-BE49-F238E27FC236}">
                <a16:creationId xmlns:a16="http://schemas.microsoft.com/office/drawing/2014/main" id="{1B10DDEF-AA6B-495D-856A-095529A36FE8}"/>
              </a:ext>
            </a:extLst>
          </p:cNvPr>
          <p:cNvSpPr txBox="1"/>
          <p:nvPr/>
        </p:nvSpPr>
        <p:spPr>
          <a:xfrm>
            <a:off x="2579337" y="2644660"/>
            <a:ext cx="835280" cy="3692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tabLst/>
              <a:defRPr/>
            </a:pPr>
            <a:r>
              <a:rPr kumimoji="0" lang="es-PE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Republica Dominicana </a:t>
            </a:r>
            <a:endParaRPr kumimoji="0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3" name="Google Shape;625;p19">
            <a:extLst>
              <a:ext uri="{FF2B5EF4-FFF2-40B4-BE49-F238E27FC236}">
                <a16:creationId xmlns:a16="http://schemas.microsoft.com/office/drawing/2014/main" id="{C337487C-F741-403F-86CA-1ACDFE6D5B0A}"/>
              </a:ext>
            </a:extLst>
          </p:cNvPr>
          <p:cNvSpPr txBox="1"/>
          <p:nvPr/>
        </p:nvSpPr>
        <p:spPr>
          <a:xfrm>
            <a:off x="723829" y="4424770"/>
            <a:ext cx="1217603" cy="3692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Campaigns in 2020-2021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4" name="Rectángulo 726">
            <a:extLst>
              <a:ext uri="{FF2B5EF4-FFF2-40B4-BE49-F238E27FC236}">
                <a16:creationId xmlns:a16="http://schemas.microsoft.com/office/drawing/2014/main" id="{D42F3058-6ED4-44B9-9515-717F0089E64E}"/>
              </a:ext>
            </a:extLst>
          </p:cNvPr>
          <p:cNvSpPr/>
          <p:nvPr/>
        </p:nvSpPr>
        <p:spPr>
          <a:xfrm>
            <a:off x="304800" y="4472361"/>
            <a:ext cx="333898" cy="278860"/>
          </a:xfrm>
          <a:prstGeom prst="rect">
            <a:avLst/>
          </a:prstGeom>
          <a:solidFill>
            <a:srgbClr val="337AB7"/>
          </a:solidFill>
          <a:ln w="25400" cap="flat" cmpd="sng" algn="ctr">
            <a:solidFill>
              <a:srgbClr val="337AB7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s-HN" sz="1400" b="0" i="0" u="none" strike="noStrike" kern="0" cap="none" spc="0" normalizeH="0" baseline="0" noProof="0" dirty="0">
              <a:ln>
                <a:noFill/>
              </a:ln>
              <a:solidFill>
                <a:srgbClr val="337AB7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2AF9B701-CA3F-484F-B7ED-669052146F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02383235"/>
              </p:ext>
            </p:extLst>
          </p:nvPr>
        </p:nvGraphicFramePr>
        <p:xfrm>
          <a:off x="4509188" y="1308111"/>
          <a:ext cx="7521653" cy="4150401"/>
        </p:xfrm>
        <a:graphic>
          <a:graphicData uri="http://schemas.openxmlformats.org/drawingml/2006/table">
            <a:tbl>
              <a:tblPr/>
              <a:tblGrid>
                <a:gridCol w="932253">
                  <a:extLst>
                    <a:ext uri="{9D8B030D-6E8A-4147-A177-3AD203B41FA5}">
                      <a16:colId xmlns:a16="http://schemas.microsoft.com/office/drawing/2014/main" val="235827003"/>
                    </a:ext>
                  </a:extLst>
                </a:gridCol>
                <a:gridCol w="1001886">
                  <a:extLst>
                    <a:ext uri="{9D8B030D-6E8A-4147-A177-3AD203B41FA5}">
                      <a16:colId xmlns:a16="http://schemas.microsoft.com/office/drawing/2014/main" val="1936282349"/>
                    </a:ext>
                  </a:extLst>
                </a:gridCol>
                <a:gridCol w="809052">
                  <a:extLst>
                    <a:ext uri="{9D8B030D-6E8A-4147-A177-3AD203B41FA5}">
                      <a16:colId xmlns:a16="http://schemas.microsoft.com/office/drawing/2014/main" val="1897813718"/>
                    </a:ext>
                  </a:extLst>
                </a:gridCol>
                <a:gridCol w="758486">
                  <a:extLst>
                    <a:ext uri="{9D8B030D-6E8A-4147-A177-3AD203B41FA5}">
                      <a16:colId xmlns:a16="http://schemas.microsoft.com/office/drawing/2014/main" val="1472588681"/>
                    </a:ext>
                  </a:extLst>
                </a:gridCol>
                <a:gridCol w="834335">
                  <a:extLst>
                    <a:ext uri="{9D8B030D-6E8A-4147-A177-3AD203B41FA5}">
                      <a16:colId xmlns:a16="http://schemas.microsoft.com/office/drawing/2014/main" val="293288081"/>
                    </a:ext>
                  </a:extLst>
                </a:gridCol>
                <a:gridCol w="1074522">
                  <a:extLst>
                    <a:ext uri="{9D8B030D-6E8A-4147-A177-3AD203B41FA5}">
                      <a16:colId xmlns:a16="http://schemas.microsoft.com/office/drawing/2014/main" val="1138388759"/>
                    </a:ext>
                  </a:extLst>
                </a:gridCol>
                <a:gridCol w="1049239">
                  <a:extLst>
                    <a:ext uri="{9D8B030D-6E8A-4147-A177-3AD203B41FA5}">
                      <a16:colId xmlns:a16="http://schemas.microsoft.com/office/drawing/2014/main" val="3632473756"/>
                    </a:ext>
                  </a:extLst>
                </a:gridCol>
                <a:gridCol w="1061880">
                  <a:extLst>
                    <a:ext uri="{9D8B030D-6E8A-4147-A177-3AD203B41FA5}">
                      <a16:colId xmlns:a16="http://schemas.microsoft.com/office/drawing/2014/main" val="4062492603"/>
                    </a:ext>
                  </a:extLst>
                </a:gridCol>
              </a:tblGrid>
              <a:tr h="708848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ountry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7D3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ype of vaccine 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7D3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Start Date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7D3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End Date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7D3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arget Age Group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7D3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arget number to vaccinate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7D3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Status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7D3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Other vaccines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7D3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9556954"/>
                  </a:ext>
                </a:extLst>
              </a:tr>
              <a:tr h="474887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ile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MR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0-10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0-12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y- 6y 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1,448,793 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verage (57%)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70813995"/>
                  </a:ext>
                </a:extLst>
              </a:tr>
              <a:tr h="33502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lombia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R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1-04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1-08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y- 10y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575,807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 progress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43053503"/>
                  </a:ext>
                </a:extLst>
              </a:tr>
              <a:tr h="67004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xico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R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1-04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1-07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y- 9y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613,161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 progrress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MR, Polio, Hexavalent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3745297"/>
                  </a:ext>
                </a:extLst>
              </a:tr>
              <a:tr h="33502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livia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MR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1- 06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1- 07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y- 5y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183,283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 progress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lio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0997479"/>
                  </a:ext>
                </a:extLst>
              </a:tr>
              <a:tr h="33502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nduras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MR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1-08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1-10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y- 5y 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166,999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anned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lio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63556183"/>
                  </a:ext>
                </a:extLst>
              </a:tr>
              <a:tr h="33502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aguay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R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1-10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1-12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y- 8y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126,927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anned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lio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33329272"/>
                  </a:ext>
                </a:extLst>
              </a:tr>
              <a:tr h="62152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inican Republic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R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1-10 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1-12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y- 5y 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6,182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anned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28251993"/>
                  </a:ext>
                </a:extLst>
              </a:tr>
              <a:tr h="33502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enezuela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MR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1- 10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1- 12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y- 5y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692,674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anned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Polio  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33576846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3B115DA6-15F6-40E5-8E06-7937327357AD}"/>
              </a:ext>
            </a:extLst>
          </p:cNvPr>
          <p:cNvSpPr txBox="1"/>
          <p:nvPr/>
        </p:nvSpPr>
        <p:spPr>
          <a:xfrm>
            <a:off x="392852" y="6498432"/>
            <a:ext cx="1051898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Source: Country reports and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HO-WHO/UNICEF Joint Reporting Form (JRF).</a:t>
            </a:r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477643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5</TotalTime>
  <Words>162</Words>
  <Application>Microsoft Office PowerPoint</Application>
  <PresentationFormat>Widescreen</PresentationFormat>
  <Paragraphs>85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alibri Light</vt:lpstr>
      <vt:lpstr>Ebrima</vt:lpstr>
      <vt:lpstr>Segoe UI</vt:lpstr>
      <vt:lpstr>Office Theme</vt:lpstr>
      <vt:lpstr>1_Custom Design</vt:lpstr>
      <vt:lpstr>think-cell Slide</vt:lpstr>
      <vt:lpstr>Follow-up Campaigns Against Measles and Rubella  The Americas, 2020 - 2021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ampañas de seguimiento contra el sarampión y la rubeola Las Américas, 2020 - 2021 </dc:title>
  <dc:creator>Bravo, Ms. Pamela (WDC)</dc:creator>
  <cp:lastModifiedBy>Pacis, Ms. Carmelita Lucia (WDC)</cp:lastModifiedBy>
  <cp:revision>5</cp:revision>
  <dcterms:created xsi:type="dcterms:W3CDTF">2021-07-19T21:21:57Z</dcterms:created>
  <dcterms:modified xsi:type="dcterms:W3CDTF">2021-07-24T00:01:04Z</dcterms:modified>
</cp:coreProperties>
</file>